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0"/>
  </p:notesMasterIdLst>
  <p:sldIdLst>
    <p:sldId id="256" r:id="rId5"/>
    <p:sldId id="258" r:id="rId6"/>
    <p:sldId id="2439" r:id="rId7"/>
    <p:sldId id="296" r:id="rId8"/>
    <p:sldId id="2426" r:id="rId9"/>
    <p:sldId id="2436" r:id="rId10"/>
    <p:sldId id="2442" r:id="rId11"/>
    <p:sldId id="2444" r:id="rId12"/>
    <p:sldId id="2447" r:id="rId13"/>
    <p:sldId id="2441" r:id="rId14"/>
    <p:sldId id="2446" r:id="rId15"/>
    <p:sldId id="2437" r:id="rId16"/>
    <p:sldId id="2440" r:id="rId17"/>
    <p:sldId id="2438" r:id="rId18"/>
    <p:sldId id="259"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381B8D4-E091-DA71-C1F7-81CF729EF02E}" name="Junaid Rahim" initials="JR" userId="S::junaid@lextego.com::b5ebfd5a-c3ae-47db-9aaa-8331ee7823d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b Reeve" initials="RR" lastIdx="12" clrIdx="0">
    <p:extLst>
      <p:ext uri="{19B8F6BF-5375-455C-9EA6-DF929625EA0E}">
        <p15:presenceInfo xmlns:p15="http://schemas.microsoft.com/office/powerpoint/2012/main" userId="S::rob@lextego.com::4c0707df-5270-43e2-b119-693e648b98d3" providerId="AD"/>
      </p:ext>
    </p:extLst>
  </p:cmAuthor>
  <p:cmAuthor id="2" name="Justus Ortlepp" initials="JO" lastIdx="4" clrIdx="1">
    <p:extLst>
      <p:ext uri="{19B8F6BF-5375-455C-9EA6-DF929625EA0E}">
        <p15:presenceInfo xmlns:p15="http://schemas.microsoft.com/office/powerpoint/2012/main" userId="Justus Ortlepp" providerId="None"/>
      </p:ext>
    </p:extLst>
  </p:cmAuthor>
  <p:cmAuthor id="3" name="Darshan Gadkari" initials="DG" lastIdx="2" clrIdx="2">
    <p:extLst>
      <p:ext uri="{19B8F6BF-5375-455C-9EA6-DF929625EA0E}">
        <p15:presenceInfo xmlns:p15="http://schemas.microsoft.com/office/powerpoint/2012/main" userId="S::darshan.gadkari@lextego.com::8cbb0154-998e-438d-95b4-05eae968e24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8CBD6B"/>
    <a:srgbClr val="3FAB3C"/>
    <a:srgbClr val="BD92DE"/>
    <a:srgbClr val="2980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C338AC8-F1BB-485C-8E96-C0F80952A35E}" v="4" dt="2022-04-26T16:43:31.56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0787" autoAdjust="0"/>
  </p:normalViewPr>
  <p:slideViewPr>
    <p:cSldViewPr snapToGrid="0">
      <p:cViewPr varScale="1">
        <p:scale>
          <a:sx n="93" d="100"/>
          <a:sy n="93" d="100"/>
        </p:scale>
        <p:origin x="1152" y="72"/>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28"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stus Ortlepp" userId="56d7986ac926cd1a" providerId="LiveId" clId="{8C338AC8-F1BB-485C-8E96-C0F80952A35E}"/>
    <pc:docChg chg="undo custSel addSld delSld modSld modShowInfo">
      <pc:chgData name="Justus Ortlepp" userId="56d7986ac926cd1a" providerId="LiveId" clId="{8C338AC8-F1BB-485C-8E96-C0F80952A35E}" dt="2022-04-26T16:43:38.483" v="30" actId="20577"/>
      <pc:docMkLst>
        <pc:docMk/>
      </pc:docMkLst>
      <pc:sldChg chg="modNotesTx">
        <pc:chgData name="Justus Ortlepp" userId="56d7986ac926cd1a" providerId="LiveId" clId="{8C338AC8-F1BB-485C-8E96-C0F80952A35E}" dt="2022-04-26T12:44:04.674" v="15" actId="20577"/>
        <pc:sldMkLst>
          <pc:docMk/>
          <pc:sldMk cId="4068862370" sldId="259"/>
        </pc:sldMkLst>
      </pc:sldChg>
      <pc:sldChg chg="delSp modSp modAnim">
        <pc:chgData name="Justus Ortlepp" userId="56d7986ac926cd1a" providerId="LiveId" clId="{8C338AC8-F1BB-485C-8E96-C0F80952A35E}" dt="2022-04-26T12:41:29.219" v="2" actId="6549"/>
        <pc:sldMkLst>
          <pc:docMk/>
          <pc:sldMk cId="1132816052" sldId="2426"/>
        </pc:sldMkLst>
        <pc:spChg chg="mod">
          <ac:chgData name="Justus Ortlepp" userId="56d7986ac926cd1a" providerId="LiveId" clId="{8C338AC8-F1BB-485C-8E96-C0F80952A35E}" dt="2022-04-26T12:41:29.219" v="2" actId="6549"/>
          <ac:spMkLst>
            <pc:docMk/>
            <pc:sldMk cId="1132816052" sldId="2426"/>
            <ac:spMk id="36" creationId="{0B6DDADF-C7CA-41FC-83D4-722BEE6138C3}"/>
          </ac:spMkLst>
        </pc:spChg>
        <pc:picChg chg="del">
          <ac:chgData name="Justus Ortlepp" userId="56d7986ac926cd1a" providerId="LiveId" clId="{8C338AC8-F1BB-485C-8E96-C0F80952A35E}" dt="2022-04-26T12:41:00.622" v="0" actId="478"/>
          <ac:picMkLst>
            <pc:docMk/>
            <pc:sldMk cId="1132816052" sldId="2426"/>
            <ac:picMk id="53" creationId="{2178575F-A903-4569-9C8B-358FC6565242}"/>
          </ac:picMkLst>
        </pc:picChg>
      </pc:sldChg>
      <pc:sldChg chg="modNotesTx">
        <pc:chgData name="Justus Ortlepp" userId="56d7986ac926cd1a" providerId="LiveId" clId="{8C338AC8-F1BB-485C-8E96-C0F80952A35E}" dt="2022-04-26T12:42:05.190" v="3" actId="6549"/>
        <pc:sldMkLst>
          <pc:docMk/>
          <pc:sldMk cId="2970270207" sldId="2436"/>
        </pc:sldMkLst>
      </pc:sldChg>
      <pc:sldChg chg="modNotesTx">
        <pc:chgData name="Justus Ortlepp" userId="56d7986ac926cd1a" providerId="LiveId" clId="{8C338AC8-F1BB-485C-8E96-C0F80952A35E}" dt="2022-04-26T12:42:43.657" v="7" actId="20577"/>
        <pc:sldMkLst>
          <pc:docMk/>
          <pc:sldMk cId="1301959975" sldId="2437"/>
        </pc:sldMkLst>
      </pc:sldChg>
      <pc:sldChg chg="modSp mod modNotesTx">
        <pc:chgData name="Justus Ortlepp" userId="56d7986ac926cd1a" providerId="LiveId" clId="{8C338AC8-F1BB-485C-8E96-C0F80952A35E}" dt="2022-04-26T16:36:00.458" v="18" actId="20577"/>
        <pc:sldMkLst>
          <pc:docMk/>
          <pc:sldMk cId="2972261850" sldId="2438"/>
        </pc:sldMkLst>
        <pc:spChg chg="mod">
          <ac:chgData name="Justus Ortlepp" userId="56d7986ac926cd1a" providerId="LiveId" clId="{8C338AC8-F1BB-485C-8E96-C0F80952A35E}" dt="2022-04-26T16:36:00.458" v="18" actId="20577"/>
          <ac:spMkLst>
            <pc:docMk/>
            <pc:sldMk cId="2972261850" sldId="2438"/>
            <ac:spMk id="6" creationId="{0B485F50-2665-4C01-8321-813BF15861BB}"/>
          </ac:spMkLst>
        </pc:spChg>
      </pc:sldChg>
      <pc:sldChg chg="modNotesTx">
        <pc:chgData name="Justus Ortlepp" userId="56d7986ac926cd1a" providerId="LiveId" clId="{8C338AC8-F1BB-485C-8E96-C0F80952A35E}" dt="2022-04-26T12:42:53.696" v="8" actId="20577"/>
        <pc:sldMkLst>
          <pc:docMk/>
          <pc:sldMk cId="4110054642" sldId="2440"/>
        </pc:sldMkLst>
      </pc:sldChg>
      <pc:sldChg chg="modNotesTx">
        <pc:chgData name="Justus Ortlepp" userId="56d7986ac926cd1a" providerId="LiveId" clId="{8C338AC8-F1BB-485C-8E96-C0F80952A35E}" dt="2022-04-26T12:42:28.913" v="4" actId="20577"/>
        <pc:sldMkLst>
          <pc:docMk/>
          <pc:sldMk cId="1282915135" sldId="2441"/>
        </pc:sldMkLst>
      </pc:sldChg>
      <pc:sldChg chg="del modNotesTx">
        <pc:chgData name="Justus Ortlepp" userId="56d7986ac926cd1a" providerId="LiveId" clId="{8C338AC8-F1BB-485C-8E96-C0F80952A35E}" dt="2022-04-26T16:43:25.060" v="19" actId="47"/>
        <pc:sldMkLst>
          <pc:docMk/>
          <pc:sldMk cId="3892253860" sldId="2445"/>
        </pc:sldMkLst>
      </pc:sldChg>
      <pc:sldChg chg="modSp mod modNotesTx">
        <pc:chgData name="Justus Ortlepp" userId="56d7986ac926cd1a" providerId="LiveId" clId="{8C338AC8-F1BB-485C-8E96-C0F80952A35E}" dt="2022-04-26T12:44:09.758" v="16" actId="1076"/>
        <pc:sldMkLst>
          <pc:docMk/>
          <pc:sldMk cId="3091867423" sldId="2446"/>
        </pc:sldMkLst>
        <pc:picChg chg="mod">
          <ac:chgData name="Justus Ortlepp" userId="56d7986ac926cd1a" providerId="LiveId" clId="{8C338AC8-F1BB-485C-8E96-C0F80952A35E}" dt="2022-04-26T12:44:09.758" v="16" actId="1076"/>
          <ac:picMkLst>
            <pc:docMk/>
            <pc:sldMk cId="3091867423" sldId="2446"/>
            <ac:picMk id="3" creationId="{27BE81D6-4940-4C93-AC05-0C1863F4CA32}"/>
          </ac:picMkLst>
        </pc:picChg>
      </pc:sldChg>
      <pc:sldChg chg="modSp add mod">
        <pc:chgData name="Justus Ortlepp" userId="56d7986ac926cd1a" providerId="LiveId" clId="{8C338AC8-F1BB-485C-8E96-C0F80952A35E}" dt="2022-04-26T16:43:38.483" v="30" actId="20577"/>
        <pc:sldMkLst>
          <pc:docMk/>
          <pc:sldMk cId="2846234984" sldId="2447"/>
        </pc:sldMkLst>
        <pc:spChg chg="mod">
          <ac:chgData name="Justus Ortlepp" userId="56d7986ac926cd1a" providerId="LiveId" clId="{8C338AC8-F1BB-485C-8E96-C0F80952A35E}" dt="2022-04-26T16:43:38.483" v="30" actId="20577"/>
          <ac:spMkLst>
            <pc:docMk/>
            <pc:sldMk cId="2846234984" sldId="2447"/>
            <ac:spMk id="2" creationId="{0E29232A-04B2-43A9-856C-32001C4B45FC}"/>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2C0AB3C-D0F8-4335-955C-A2F35A659C1A}" type="doc">
      <dgm:prSet loTypeId="urn:microsoft.com/office/officeart/2008/layout/HalfCircleOrganizationChart" loCatId="hierarchy" qsTypeId="urn:microsoft.com/office/officeart/2005/8/quickstyle/simple1" qsCatId="simple" csTypeId="urn:microsoft.com/office/officeart/2005/8/colors/accent1_2" csCatId="accent1" phldr="1"/>
      <dgm:spPr/>
      <dgm:t>
        <a:bodyPr/>
        <a:lstStyle/>
        <a:p>
          <a:endParaRPr lang="en-ZA"/>
        </a:p>
      </dgm:t>
    </dgm:pt>
    <dgm:pt modelId="{2B6F6A5E-0588-455E-95E3-1522AB6CD4FB}">
      <dgm:prSet phldrT="[Text]"/>
      <dgm:spPr/>
      <dgm:t>
        <a:bodyPr/>
        <a:lstStyle/>
        <a:p>
          <a:r>
            <a:rPr lang="en-GB" dirty="0"/>
            <a:t>Pain.001</a:t>
          </a:r>
          <a:endParaRPr lang="en-ZA" dirty="0"/>
        </a:p>
      </dgm:t>
    </dgm:pt>
    <dgm:pt modelId="{9C04A5E0-02F7-4C7B-81BB-A3A9C1C8E5DD}" type="parTrans" cxnId="{F9637803-F711-471D-ACFF-13A8B0B7C0FF}">
      <dgm:prSet/>
      <dgm:spPr/>
      <dgm:t>
        <a:bodyPr/>
        <a:lstStyle/>
        <a:p>
          <a:endParaRPr lang="en-ZA"/>
        </a:p>
      </dgm:t>
    </dgm:pt>
    <dgm:pt modelId="{DA3ED0E5-95F4-4BF8-8CA8-C480C9DB2CAD}" type="sibTrans" cxnId="{F9637803-F711-471D-ACFF-13A8B0B7C0FF}">
      <dgm:prSet/>
      <dgm:spPr/>
      <dgm:t>
        <a:bodyPr/>
        <a:lstStyle/>
        <a:p>
          <a:endParaRPr lang="en-ZA"/>
        </a:p>
      </dgm:t>
    </dgm:pt>
    <dgm:pt modelId="{9CFE57A0-D5EB-4298-BF0A-032DEAE47C89}">
      <dgm:prSet phldrT="[Text]"/>
      <dgm:spPr/>
      <dgm:t>
        <a:bodyPr/>
        <a:lstStyle/>
        <a:p>
          <a:r>
            <a:rPr lang="en-GB" dirty="0" err="1"/>
            <a:t>PmtInf</a:t>
          </a:r>
          <a:endParaRPr lang="en-ZA" dirty="0"/>
        </a:p>
      </dgm:t>
    </dgm:pt>
    <dgm:pt modelId="{A787CEE8-DFC8-488E-A6A8-5F4576F18C28}" type="parTrans" cxnId="{D5A8852D-BD5C-4F9A-8722-9FB88796374F}">
      <dgm:prSet/>
      <dgm:spPr/>
      <dgm:t>
        <a:bodyPr/>
        <a:lstStyle/>
        <a:p>
          <a:endParaRPr lang="en-ZA"/>
        </a:p>
      </dgm:t>
    </dgm:pt>
    <dgm:pt modelId="{D28D8EA9-9DE1-4879-8441-5D54083A7ED1}" type="sibTrans" cxnId="{D5A8852D-BD5C-4F9A-8722-9FB88796374F}">
      <dgm:prSet/>
      <dgm:spPr/>
      <dgm:t>
        <a:bodyPr/>
        <a:lstStyle/>
        <a:p>
          <a:endParaRPr lang="en-ZA"/>
        </a:p>
      </dgm:t>
    </dgm:pt>
    <dgm:pt modelId="{F0E9D375-F7C9-407B-AD89-512D11C0FE6A}">
      <dgm:prSet phldrT="[Text]"/>
      <dgm:spPr/>
      <dgm:t>
        <a:bodyPr/>
        <a:lstStyle/>
        <a:p>
          <a:r>
            <a:rPr lang="en-GB" dirty="0" err="1"/>
            <a:t>DbtrAcct</a:t>
          </a:r>
          <a:endParaRPr lang="en-ZA" dirty="0"/>
        </a:p>
      </dgm:t>
    </dgm:pt>
    <dgm:pt modelId="{348DA9B9-AC23-4A9B-AB78-31A4E069158C}" type="parTrans" cxnId="{FD370847-C468-4D33-9219-B2F2F3988FDB}">
      <dgm:prSet/>
      <dgm:spPr/>
      <dgm:t>
        <a:bodyPr/>
        <a:lstStyle/>
        <a:p>
          <a:endParaRPr lang="en-ZA"/>
        </a:p>
      </dgm:t>
    </dgm:pt>
    <dgm:pt modelId="{7DA9CAC2-3CEA-4E15-AE70-BAE8EB27E608}" type="sibTrans" cxnId="{FD370847-C468-4D33-9219-B2F2F3988FDB}">
      <dgm:prSet/>
      <dgm:spPr/>
      <dgm:t>
        <a:bodyPr/>
        <a:lstStyle/>
        <a:p>
          <a:endParaRPr lang="en-ZA"/>
        </a:p>
      </dgm:t>
    </dgm:pt>
    <dgm:pt modelId="{DEA372BF-90AE-4A9A-B7ED-5FF7064ABE0A}">
      <dgm:prSet phldrT="[Text]"/>
      <dgm:spPr/>
      <dgm:t>
        <a:bodyPr/>
        <a:lstStyle/>
        <a:p>
          <a:r>
            <a:rPr lang="en-GB" dirty="0" err="1"/>
            <a:t>CdtTrfTxInf</a:t>
          </a:r>
          <a:endParaRPr lang="en-ZA" dirty="0"/>
        </a:p>
      </dgm:t>
    </dgm:pt>
    <dgm:pt modelId="{CFA655EF-9041-4402-9A88-B1B797155263}" type="parTrans" cxnId="{3800C7F8-3FA6-4184-B396-74DC93DEE1A1}">
      <dgm:prSet/>
      <dgm:spPr/>
      <dgm:t>
        <a:bodyPr/>
        <a:lstStyle/>
        <a:p>
          <a:endParaRPr lang="en-ZA"/>
        </a:p>
      </dgm:t>
    </dgm:pt>
    <dgm:pt modelId="{DCF82148-055B-4A57-A731-D17BDC416DCA}" type="sibTrans" cxnId="{3800C7F8-3FA6-4184-B396-74DC93DEE1A1}">
      <dgm:prSet/>
      <dgm:spPr/>
      <dgm:t>
        <a:bodyPr/>
        <a:lstStyle/>
        <a:p>
          <a:endParaRPr lang="en-ZA"/>
        </a:p>
      </dgm:t>
    </dgm:pt>
    <dgm:pt modelId="{AE0949AF-1989-4CBC-9F27-9FC8CF2D0001}">
      <dgm:prSet phldrT="[Text]"/>
      <dgm:spPr/>
      <dgm:t>
        <a:bodyPr/>
        <a:lstStyle/>
        <a:p>
          <a:r>
            <a:rPr lang="en-GB" dirty="0" err="1"/>
            <a:t>Dbtr</a:t>
          </a:r>
          <a:endParaRPr lang="en-ZA" dirty="0"/>
        </a:p>
      </dgm:t>
    </dgm:pt>
    <dgm:pt modelId="{319D220E-7C91-4790-AD36-7084297B9C65}" type="parTrans" cxnId="{6381E1A7-B222-46CF-BD4A-A61187C084C7}">
      <dgm:prSet/>
      <dgm:spPr/>
      <dgm:t>
        <a:bodyPr/>
        <a:lstStyle/>
        <a:p>
          <a:endParaRPr lang="en-ZA"/>
        </a:p>
      </dgm:t>
    </dgm:pt>
    <dgm:pt modelId="{8A776283-29BB-443A-AF51-50BB46955AE4}" type="sibTrans" cxnId="{6381E1A7-B222-46CF-BD4A-A61187C084C7}">
      <dgm:prSet/>
      <dgm:spPr/>
      <dgm:t>
        <a:bodyPr/>
        <a:lstStyle/>
        <a:p>
          <a:endParaRPr lang="en-ZA"/>
        </a:p>
      </dgm:t>
    </dgm:pt>
    <dgm:pt modelId="{96073AD0-F498-4ECD-9088-904628E1CCA7}">
      <dgm:prSet phldrT="[Text]"/>
      <dgm:spPr/>
      <dgm:t>
        <a:bodyPr/>
        <a:lstStyle/>
        <a:p>
          <a:r>
            <a:rPr lang="en-GB" dirty="0"/>
            <a:t>Id</a:t>
          </a:r>
          <a:endParaRPr lang="en-ZA" dirty="0"/>
        </a:p>
      </dgm:t>
    </dgm:pt>
    <dgm:pt modelId="{DA6E3D67-0B1A-4930-99D3-AFE76A31EADF}" type="parTrans" cxnId="{91F56956-B4CB-45C8-AC02-45A1352FA347}">
      <dgm:prSet/>
      <dgm:spPr/>
      <dgm:t>
        <a:bodyPr/>
        <a:lstStyle/>
        <a:p>
          <a:endParaRPr lang="en-ZA"/>
        </a:p>
      </dgm:t>
    </dgm:pt>
    <dgm:pt modelId="{E0C168CD-C048-4501-A680-A65705E1F69E}" type="sibTrans" cxnId="{91F56956-B4CB-45C8-AC02-45A1352FA347}">
      <dgm:prSet/>
      <dgm:spPr/>
      <dgm:t>
        <a:bodyPr/>
        <a:lstStyle/>
        <a:p>
          <a:endParaRPr lang="en-ZA"/>
        </a:p>
      </dgm:t>
    </dgm:pt>
    <dgm:pt modelId="{E6233824-91A3-417E-A6A8-8B20DE76D326}">
      <dgm:prSet phldrT="[Text]"/>
      <dgm:spPr/>
      <dgm:t>
        <a:bodyPr/>
        <a:lstStyle/>
        <a:p>
          <a:r>
            <a:rPr lang="en-GB" dirty="0" err="1"/>
            <a:t>PrvtId</a:t>
          </a:r>
          <a:endParaRPr lang="en-ZA" dirty="0"/>
        </a:p>
      </dgm:t>
    </dgm:pt>
    <dgm:pt modelId="{D7237FA1-6D7F-46F0-B83F-149ECC0CB84D}" type="parTrans" cxnId="{2C063023-BCAB-416A-A47A-9DED33A1ACFF}">
      <dgm:prSet/>
      <dgm:spPr/>
      <dgm:t>
        <a:bodyPr/>
        <a:lstStyle/>
        <a:p>
          <a:endParaRPr lang="en-ZA"/>
        </a:p>
      </dgm:t>
    </dgm:pt>
    <dgm:pt modelId="{6FC30859-6013-48AC-9218-BB176ABB5B5D}" type="sibTrans" cxnId="{2C063023-BCAB-416A-A47A-9DED33A1ACFF}">
      <dgm:prSet/>
      <dgm:spPr/>
      <dgm:t>
        <a:bodyPr/>
        <a:lstStyle/>
        <a:p>
          <a:endParaRPr lang="en-ZA"/>
        </a:p>
      </dgm:t>
    </dgm:pt>
    <dgm:pt modelId="{0E9E549F-3920-46C6-B0D2-FDB3687AB785}">
      <dgm:prSet phldrT="[Text]"/>
      <dgm:spPr/>
      <dgm:t>
        <a:bodyPr/>
        <a:lstStyle/>
        <a:p>
          <a:r>
            <a:rPr lang="en-GB" dirty="0"/>
            <a:t>Other</a:t>
          </a:r>
          <a:endParaRPr lang="en-ZA" dirty="0"/>
        </a:p>
      </dgm:t>
    </dgm:pt>
    <dgm:pt modelId="{EF9120D2-3FBD-49A4-885C-B18B1C315A5F}" type="parTrans" cxnId="{C07281FE-E1FA-4F6F-82DF-6562E0085AE0}">
      <dgm:prSet/>
      <dgm:spPr/>
      <dgm:t>
        <a:bodyPr/>
        <a:lstStyle/>
        <a:p>
          <a:endParaRPr lang="en-ZA"/>
        </a:p>
      </dgm:t>
    </dgm:pt>
    <dgm:pt modelId="{3F1F4CAF-554C-4F2E-B61C-1B8C7C16C2EB}" type="sibTrans" cxnId="{C07281FE-E1FA-4F6F-82DF-6562E0085AE0}">
      <dgm:prSet/>
      <dgm:spPr/>
      <dgm:t>
        <a:bodyPr/>
        <a:lstStyle/>
        <a:p>
          <a:endParaRPr lang="en-ZA"/>
        </a:p>
      </dgm:t>
    </dgm:pt>
    <dgm:pt modelId="{970CBA58-F71B-4323-8F57-6F985B3D4DBC}">
      <dgm:prSet phldrT="[Text]"/>
      <dgm:spPr/>
      <dgm:t>
        <a:bodyPr/>
        <a:lstStyle/>
        <a:p>
          <a:r>
            <a:rPr lang="en-GB" b="1" dirty="0"/>
            <a:t>MSISDN</a:t>
          </a:r>
          <a:endParaRPr lang="en-ZA" b="1" dirty="0"/>
        </a:p>
      </dgm:t>
    </dgm:pt>
    <dgm:pt modelId="{9B01DA8A-30EA-446A-8B52-A1E82958BAF0}" type="parTrans" cxnId="{85095DA7-F450-4845-8B63-F1ADC4CC21E5}">
      <dgm:prSet/>
      <dgm:spPr/>
      <dgm:t>
        <a:bodyPr/>
        <a:lstStyle/>
        <a:p>
          <a:endParaRPr lang="en-ZA"/>
        </a:p>
      </dgm:t>
    </dgm:pt>
    <dgm:pt modelId="{7084D5A1-322E-42E5-9A04-E1D15E9BF711}" type="sibTrans" cxnId="{85095DA7-F450-4845-8B63-F1ADC4CC21E5}">
      <dgm:prSet/>
      <dgm:spPr/>
      <dgm:t>
        <a:bodyPr/>
        <a:lstStyle/>
        <a:p>
          <a:endParaRPr lang="en-ZA"/>
        </a:p>
      </dgm:t>
    </dgm:pt>
    <dgm:pt modelId="{351ABB51-0927-4AFD-A19F-8F1A59A16699}">
      <dgm:prSet phldrT="[Text]"/>
      <dgm:spPr/>
      <dgm:t>
        <a:bodyPr/>
        <a:lstStyle/>
        <a:p>
          <a:r>
            <a:rPr lang="en-GB" b="1" dirty="0"/>
            <a:t>ACTIO_EID</a:t>
          </a:r>
          <a:endParaRPr lang="en-ZA" b="1" dirty="0"/>
        </a:p>
      </dgm:t>
    </dgm:pt>
    <dgm:pt modelId="{134E3AB4-E989-4C61-87D7-C05C697B52CD}" type="parTrans" cxnId="{4CE5B0A3-D6D6-48D1-B2E5-CA748BD28800}">
      <dgm:prSet/>
      <dgm:spPr/>
      <dgm:t>
        <a:bodyPr/>
        <a:lstStyle/>
        <a:p>
          <a:endParaRPr lang="en-ZA"/>
        </a:p>
      </dgm:t>
    </dgm:pt>
    <dgm:pt modelId="{8FC41C1A-1390-4334-8519-4A38331E2594}" type="sibTrans" cxnId="{4CE5B0A3-D6D6-48D1-B2E5-CA748BD28800}">
      <dgm:prSet/>
      <dgm:spPr/>
      <dgm:t>
        <a:bodyPr/>
        <a:lstStyle/>
        <a:p>
          <a:endParaRPr lang="en-ZA"/>
        </a:p>
      </dgm:t>
    </dgm:pt>
    <dgm:pt modelId="{4A11916B-BC94-4DFF-B2B6-B5149AAAC5C6}">
      <dgm:prSet phldrT="[Text]"/>
      <dgm:spPr/>
      <dgm:t>
        <a:bodyPr/>
        <a:lstStyle/>
        <a:p>
          <a:r>
            <a:rPr lang="en-GB" dirty="0"/>
            <a:t>Id</a:t>
          </a:r>
          <a:endParaRPr lang="en-ZA" dirty="0"/>
        </a:p>
      </dgm:t>
    </dgm:pt>
    <dgm:pt modelId="{A1291A85-1955-4C27-8F53-A0FFFC5BA2CB}" type="parTrans" cxnId="{D7304817-3C7D-431B-98F2-6D0A8D1E370D}">
      <dgm:prSet/>
      <dgm:spPr/>
      <dgm:t>
        <a:bodyPr/>
        <a:lstStyle/>
        <a:p>
          <a:endParaRPr lang="en-ZA"/>
        </a:p>
      </dgm:t>
    </dgm:pt>
    <dgm:pt modelId="{DBDCEBF6-0FA2-464E-9E9E-C34A13CCE1EB}" type="sibTrans" cxnId="{D7304817-3C7D-431B-98F2-6D0A8D1E370D}">
      <dgm:prSet/>
      <dgm:spPr/>
      <dgm:t>
        <a:bodyPr/>
        <a:lstStyle/>
        <a:p>
          <a:endParaRPr lang="en-ZA"/>
        </a:p>
      </dgm:t>
    </dgm:pt>
    <dgm:pt modelId="{A04C7B5D-C77B-4517-94E3-E33F9C2BB6E5}">
      <dgm:prSet phldrT="[Text]"/>
      <dgm:spPr/>
      <dgm:t>
        <a:bodyPr/>
        <a:lstStyle/>
        <a:p>
          <a:r>
            <a:rPr lang="en-GB" b="1" dirty="0"/>
            <a:t>PSEUDO</a:t>
          </a:r>
          <a:endParaRPr lang="en-ZA" b="1" dirty="0"/>
        </a:p>
      </dgm:t>
    </dgm:pt>
    <dgm:pt modelId="{44D790B3-B887-4EB7-A2A8-6FAD40683AD9}" type="parTrans" cxnId="{07BB66A6-C603-4862-8AA6-395BC973A81F}">
      <dgm:prSet/>
      <dgm:spPr/>
      <dgm:t>
        <a:bodyPr/>
        <a:lstStyle/>
        <a:p>
          <a:endParaRPr lang="en-ZA"/>
        </a:p>
      </dgm:t>
    </dgm:pt>
    <dgm:pt modelId="{3E139411-70FC-4A12-A08F-47D91495592C}" type="sibTrans" cxnId="{07BB66A6-C603-4862-8AA6-395BC973A81F}">
      <dgm:prSet/>
      <dgm:spPr/>
      <dgm:t>
        <a:bodyPr/>
        <a:lstStyle/>
        <a:p>
          <a:endParaRPr lang="en-ZA"/>
        </a:p>
      </dgm:t>
    </dgm:pt>
    <dgm:pt modelId="{EF215A8C-CD1E-4BFA-B1D9-55C080A1D857}">
      <dgm:prSet phldrT="[Text]"/>
      <dgm:spPr/>
      <dgm:t>
        <a:bodyPr/>
        <a:lstStyle/>
        <a:p>
          <a:r>
            <a:rPr lang="en-GB" dirty="0" err="1"/>
            <a:t>Cdtr</a:t>
          </a:r>
          <a:endParaRPr lang="en-ZA" dirty="0"/>
        </a:p>
      </dgm:t>
    </dgm:pt>
    <dgm:pt modelId="{D29388B6-4895-4D1A-80E7-25D518450346}" type="parTrans" cxnId="{9D8644B1-C9C4-44A9-BA28-C2CA4B0C6F2C}">
      <dgm:prSet/>
      <dgm:spPr/>
      <dgm:t>
        <a:bodyPr/>
        <a:lstStyle/>
        <a:p>
          <a:endParaRPr lang="en-ZA"/>
        </a:p>
      </dgm:t>
    </dgm:pt>
    <dgm:pt modelId="{E83723C4-72C0-49C1-AF5E-18583C16EC3E}" type="sibTrans" cxnId="{9D8644B1-C9C4-44A9-BA28-C2CA4B0C6F2C}">
      <dgm:prSet/>
      <dgm:spPr/>
      <dgm:t>
        <a:bodyPr/>
        <a:lstStyle/>
        <a:p>
          <a:endParaRPr lang="en-ZA"/>
        </a:p>
      </dgm:t>
    </dgm:pt>
    <dgm:pt modelId="{88241922-6EA9-49F4-A7EA-316AD6C6AB0A}">
      <dgm:prSet phldrT="[Text]"/>
      <dgm:spPr/>
      <dgm:t>
        <a:bodyPr/>
        <a:lstStyle/>
        <a:p>
          <a:r>
            <a:rPr lang="en-GB" dirty="0"/>
            <a:t>Id</a:t>
          </a:r>
          <a:endParaRPr lang="en-ZA" dirty="0"/>
        </a:p>
      </dgm:t>
    </dgm:pt>
    <dgm:pt modelId="{F4477912-92EA-49AD-98F9-5D3FBD78EA12}" type="parTrans" cxnId="{E04765B8-7863-4F68-AD2D-CFBF130F541C}">
      <dgm:prSet/>
      <dgm:spPr/>
      <dgm:t>
        <a:bodyPr/>
        <a:lstStyle/>
        <a:p>
          <a:endParaRPr lang="en-ZA"/>
        </a:p>
      </dgm:t>
    </dgm:pt>
    <dgm:pt modelId="{639E1B92-24EB-486E-A022-4825F21F49DC}" type="sibTrans" cxnId="{E04765B8-7863-4F68-AD2D-CFBF130F541C}">
      <dgm:prSet/>
      <dgm:spPr/>
      <dgm:t>
        <a:bodyPr/>
        <a:lstStyle/>
        <a:p>
          <a:endParaRPr lang="en-ZA"/>
        </a:p>
      </dgm:t>
    </dgm:pt>
    <dgm:pt modelId="{7B22512A-5BC1-41A1-9374-32D5D872F618}">
      <dgm:prSet phldrT="[Text]"/>
      <dgm:spPr/>
      <dgm:t>
        <a:bodyPr/>
        <a:lstStyle/>
        <a:p>
          <a:r>
            <a:rPr lang="en-GB" dirty="0" err="1"/>
            <a:t>PrvtId</a:t>
          </a:r>
          <a:endParaRPr lang="en-ZA" dirty="0"/>
        </a:p>
      </dgm:t>
    </dgm:pt>
    <dgm:pt modelId="{4EB5EC8A-ED59-44F4-8A60-46296EFD415F}" type="parTrans" cxnId="{F965F6C6-FFF9-4154-B4C1-618B45637FB8}">
      <dgm:prSet/>
      <dgm:spPr/>
      <dgm:t>
        <a:bodyPr/>
        <a:lstStyle/>
        <a:p>
          <a:endParaRPr lang="en-ZA"/>
        </a:p>
      </dgm:t>
    </dgm:pt>
    <dgm:pt modelId="{BB475BA5-C4E6-44DD-9DA9-5A42F4C315A9}" type="sibTrans" cxnId="{F965F6C6-FFF9-4154-B4C1-618B45637FB8}">
      <dgm:prSet/>
      <dgm:spPr/>
      <dgm:t>
        <a:bodyPr/>
        <a:lstStyle/>
        <a:p>
          <a:endParaRPr lang="en-ZA"/>
        </a:p>
      </dgm:t>
    </dgm:pt>
    <dgm:pt modelId="{E9A77C6A-1296-41BA-B2EC-5812A66057AF}">
      <dgm:prSet phldrT="[Text]"/>
      <dgm:spPr/>
      <dgm:t>
        <a:bodyPr/>
        <a:lstStyle/>
        <a:p>
          <a:r>
            <a:rPr lang="en-GB" dirty="0"/>
            <a:t>Other</a:t>
          </a:r>
          <a:endParaRPr lang="en-ZA" dirty="0"/>
        </a:p>
      </dgm:t>
    </dgm:pt>
    <dgm:pt modelId="{DF30CE40-81DA-4A2D-8D46-8A7DCB4CFE98}" type="parTrans" cxnId="{E7CB496B-BF40-44B8-B1EE-53F1F60B17BF}">
      <dgm:prSet/>
      <dgm:spPr/>
      <dgm:t>
        <a:bodyPr/>
        <a:lstStyle/>
        <a:p>
          <a:endParaRPr lang="en-ZA"/>
        </a:p>
      </dgm:t>
    </dgm:pt>
    <dgm:pt modelId="{BE702B86-30D3-4D35-8370-974CB1A70893}" type="sibTrans" cxnId="{E7CB496B-BF40-44B8-B1EE-53F1F60B17BF}">
      <dgm:prSet/>
      <dgm:spPr/>
      <dgm:t>
        <a:bodyPr/>
        <a:lstStyle/>
        <a:p>
          <a:endParaRPr lang="en-ZA"/>
        </a:p>
      </dgm:t>
    </dgm:pt>
    <dgm:pt modelId="{34B084A5-A73E-4C2D-9BE4-6DA4F8E847A2}">
      <dgm:prSet phldrT="[Text]"/>
      <dgm:spPr/>
      <dgm:t>
        <a:bodyPr/>
        <a:lstStyle/>
        <a:p>
          <a:r>
            <a:rPr lang="en-GB" b="1" dirty="0"/>
            <a:t>MSISDN</a:t>
          </a:r>
          <a:endParaRPr lang="en-ZA" b="1" dirty="0"/>
        </a:p>
      </dgm:t>
    </dgm:pt>
    <dgm:pt modelId="{DC3372D0-8727-4B86-A256-00F4F88A403E}" type="parTrans" cxnId="{5D8DF75F-623E-4BDC-95BB-E8B0F0EDD50F}">
      <dgm:prSet/>
      <dgm:spPr/>
      <dgm:t>
        <a:bodyPr/>
        <a:lstStyle/>
        <a:p>
          <a:endParaRPr lang="en-ZA"/>
        </a:p>
      </dgm:t>
    </dgm:pt>
    <dgm:pt modelId="{3431254D-D4CB-4AEC-817A-BE7D03AF41CD}" type="sibTrans" cxnId="{5D8DF75F-623E-4BDC-95BB-E8B0F0EDD50F}">
      <dgm:prSet/>
      <dgm:spPr/>
      <dgm:t>
        <a:bodyPr/>
        <a:lstStyle/>
        <a:p>
          <a:endParaRPr lang="en-ZA"/>
        </a:p>
      </dgm:t>
    </dgm:pt>
    <dgm:pt modelId="{04EE3C6A-7A57-473F-A9D3-7C08C0955ACB}">
      <dgm:prSet phldrT="[Text]"/>
      <dgm:spPr/>
      <dgm:t>
        <a:bodyPr/>
        <a:lstStyle/>
        <a:p>
          <a:r>
            <a:rPr lang="en-GB" b="1" dirty="0"/>
            <a:t>ACTIO_EID</a:t>
          </a:r>
          <a:endParaRPr lang="en-ZA" b="1" dirty="0"/>
        </a:p>
      </dgm:t>
    </dgm:pt>
    <dgm:pt modelId="{C365DAFA-9621-40E5-AAD9-E0A3E79BDA9B}" type="parTrans" cxnId="{FC914ABD-3B60-4A23-9D72-9DD5952666F0}">
      <dgm:prSet/>
      <dgm:spPr/>
      <dgm:t>
        <a:bodyPr/>
        <a:lstStyle/>
        <a:p>
          <a:endParaRPr lang="en-ZA"/>
        </a:p>
      </dgm:t>
    </dgm:pt>
    <dgm:pt modelId="{CE7E3B0F-A602-4527-9635-E7F353E3593A}" type="sibTrans" cxnId="{FC914ABD-3B60-4A23-9D72-9DD5952666F0}">
      <dgm:prSet/>
      <dgm:spPr/>
      <dgm:t>
        <a:bodyPr/>
        <a:lstStyle/>
        <a:p>
          <a:endParaRPr lang="en-ZA"/>
        </a:p>
      </dgm:t>
    </dgm:pt>
    <dgm:pt modelId="{ABCEE23E-FCEE-452A-8E67-7E6FFE65A00D}">
      <dgm:prSet phldrT="[Text]"/>
      <dgm:spPr/>
      <dgm:t>
        <a:bodyPr/>
        <a:lstStyle/>
        <a:p>
          <a:r>
            <a:rPr lang="en-GB" dirty="0" err="1"/>
            <a:t>CdtrAcct</a:t>
          </a:r>
          <a:endParaRPr lang="en-ZA" dirty="0"/>
        </a:p>
      </dgm:t>
    </dgm:pt>
    <dgm:pt modelId="{DFE08757-B1AE-4AC8-826D-BB8FDDA435B7}" type="parTrans" cxnId="{72BBBF86-A8A8-47AE-9015-CF7B641DCCD6}">
      <dgm:prSet/>
      <dgm:spPr/>
      <dgm:t>
        <a:bodyPr/>
        <a:lstStyle/>
        <a:p>
          <a:endParaRPr lang="en-ZA"/>
        </a:p>
      </dgm:t>
    </dgm:pt>
    <dgm:pt modelId="{27DCEEC3-393E-476A-949C-2547BA0B7E61}" type="sibTrans" cxnId="{72BBBF86-A8A8-47AE-9015-CF7B641DCCD6}">
      <dgm:prSet/>
      <dgm:spPr/>
      <dgm:t>
        <a:bodyPr/>
        <a:lstStyle/>
        <a:p>
          <a:endParaRPr lang="en-ZA"/>
        </a:p>
      </dgm:t>
    </dgm:pt>
    <dgm:pt modelId="{BBFD16A0-B7F1-4208-9A9B-54EA5C1E50A1}">
      <dgm:prSet phldrT="[Text]"/>
      <dgm:spPr/>
      <dgm:t>
        <a:bodyPr/>
        <a:lstStyle/>
        <a:p>
          <a:r>
            <a:rPr lang="en-GB" dirty="0"/>
            <a:t>Id</a:t>
          </a:r>
          <a:endParaRPr lang="en-ZA" dirty="0"/>
        </a:p>
      </dgm:t>
    </dgm:pt>
    <dgm:pt modelId="{1F003914-A4D7-4B14-B0B8-AE1FB400668D}" type="parTrans" cxnId="{2E205CD8-B0F7-4E61-9DDE-EAD0BEF7A9E4}">
      <dgm:prSet/>
      <dgm:spPr/>
      <dgm:t>
        <a:bodyPr/>
        <a:lstStyle/>
        <a:p>
          <a:endParaRPr lang="en-ZA"/>
        </a:p>
      </dgm:t>
    </dgm:pt>
    <dgm:pt modelId="{6ED93F10-AC45-4E07-B4ED-31336D2D2B36}" type="sibTrans" cxnId="{2E205CD8-B0F7-4E61-9DDE-EAD0BEF7A9E4}">
      <dgm:prSet/>
      <dgm:spPr/>
      <dgm:t>
        <a:bodyPr/>
        <a:lstStyle/>
        <a:p>
          <a:endParaRPr lang="en-ZA"/>
        </a:p>
      </dgm:t>
    </dgm:pt>
    <dgm:pt modelId="{31BEEDEB-DE04-4280-B29D-575B64CBBF98}">
      <dgm:prSet phldrT="[Text]"/>
      <dgm:spPr/>
      <dgm:t>
        <a:bodyPr/>
        <a:lstStyle/>
        <a:p>
          <a:r>
            <a:rPr lang="en-GB" b="1" dirty="0"/>
            <a:t>PSEUDO</a:t>
          </a:r>
          <a:endParaRPr lang="en-ZA" b="1" dirty="0"/>
        </a:p>
      </dgm:t>
    </dgm:pt>
    <dgm:pt modelId="{A90FEFE6-6D07-4785-8066-3514419166E7}" type="parTrans" cxnId="{BC8803D8-4104-40A0-B466-883C479EBDF6}">
      <dgm:prSet/>
      <dgm:spPr/>
      <dgm:t>
        <a:bodyPr/>
        <a:lstStyle/>
        <a:p>
          <a:endParaRPr lang="en-ZA"/>
        </a:p>
      </dgm:t>
    </dgm:pt>
    <dgm:pt modelId="{9A2EBC35-DEF2-441D-9281-F86C91D6463B}" type="sibTrans" cxnId="{BC8803D8-4104-40A0-B466-883C479EBDF6}">
      <dgm:prSet/>
      <dgm:spPr/>
      <dgm:t>
        <a:bodyPr/>
        <a:lstStyle/>
        <a:p>
          <a:endParaRPr lang="en-ZA"/>
        </a:p>
      </dgm:t>
    </dgm:pt>
    <dgm:pt modelId="{060C64C6-09C8-4308-B932-2FAE08483251}">
      <dgm:prSet phldrT="[Text]"/>
      <dgm:spPr/>
      <dgm:t>
        <a:bodyPr/>
        <a:lstStyle/>
        <a:p>
          <a:r>
            <a:rPr lang="en-GB" dirty="0" err="1"/>
            <a:t>TxTp</a:t>
          </a:r>
          <a:endParaRPr lang="en-ZA" dirty="0"/>
        </a:p>
      </dgm:t>
    </dgm:pt>
    <dgm:pt modelId="{57517ACF-F62B-45A4-8417-E6FE9FEBCE8D}" type="parTrans" cxnId="{2A9142B2-15E7-446F-B8C2-E374A9045925}">
      <dgm:prSet/>
      <dgm:spPr/>
      <dgm:t>
        <a:bodyPr/>
        <a:lstStyle/>
        <a:p>
          <a:endParaRPr lang="en-ZA"/>
        </a:p>
      </dgm:t>
    </dgm:pt>
    <dgm:pt modelId="{8A13DB9E-AC7E-4E25-962F-384D3D040263}" type="sibTrans" cxnId="{2A9142B2-15E7-446F-B8C2-E374A9045925}">
      <dgm:prSet/>
      <dgm:spPr/>
      <dgm:t>
        <a:bodyPr/>
        <a:lstStyle/>
        <a:p>
          <a:endParaRPr lang="en-ZA"/>
        </a:p>
      </dgm:t>
    </dgm:pt>
    <dgm:pt modelId="{F65787E2-7756-4C66-BEF0-11FD60093AAF}">
      <dgm:prSet phldrT="[Text]"/>
      <dgm:spPr/>
      <dgm:t>
        <a:bodyPr/>
        <a:lstStyle/>
        <a:p>
          <a:r>
            <a:rPr lang="en-GB" dirty="0" err="1"/>
            <a:t>CstmrCdtTrfInitn</a:t>
          </a:r>
          <a:endParaRPr lang="en-ZA" dirty="0"/>
        </a:p>
      </dgm:t>
    </dgm:pt>
    <dgm:pt modelId="{803F7FF8-7BF7-418B-A484-73451E49DA53}" type="parTrans" cxnId="{8A099E93-9FBC-4133-BE12-13E2EA2F0628}">
      <dgm:prSet/>
      <dgm:spPr/>
      <dgm:t>
        <a:bodyPr/>
        <a:lstStyle/>
        <a:p>
          <a:endParaRPr lang="en-ZA"/>
        </a:p>
      </dgm:t>
    </dgm:pt>
    <dgm:pt modelId="{0BD04ADF-A11E-4DC9-976A-473EBB164AD2}" type="sibTrans" cxnId="{8A099E93-9FBC-4133-BE12-13E2EA2F0628}">
      <dgm:prSet/>
      <dgm:spPr/>
      <dgm:t>
        <a:bodyPr/>
        <a:lstStyle/>
        <a:p>
          <a:endParaRPr lang="en-ZA"/>
        </a:p>
      </dgm:t>
    </dgm:pt>
    <dgm:pt modelId="{B647F2CE-1C64-40F9-84E4-21168066050C}">
      <dgm:prSet phldrT="[Text]"/>
      <dgm:spPr/>
      <dgm:t>
        <a:bodyPr/>
        <a:lstStyle/>
        <a:p>
          <a:r>
            <a:rPr lang="en-GB" dirty="0" err="1"/>
            <a:t>GrpHdr</a:t>
          </a:r>
          <a:endParaRPr lang="en-ZA" dirty="0"/>
        </a:p>
      </dgm:t>
    </dgm:pt>
    <dgm:pt modelId="{BCD1DA77-ED8C-4452-8031-746126E24E7C}" type="parTrans" cxnId="{A86AA948-1867-4201-A12B-3308B0E5A07D}">
      <dgm:prSet/>
      <dgm:spPr/>
      <dgm:t>
        <a:bodyPr/>
        <a:lstStyle/>
        <a:p>
          <a:endParaRPr lang="en-ZA"/>
        </a:p>
      </dgm:t>
    </dgm:pt>
    <dgm:pt modelId="{C53FE438-7DB4-4BCD-824D-D9CF1EEC1331}" type="sibTrans" cxnId="{A86AA948-1867-4201-A12B-3308B0E5A07D}">
      <dgm:prSet/>
      <dgm:spPr/>
      <dgm:t>
        <a:bodyPr/>
        <a:lstStyle/>
        <a:p>
          <a:endParaRPr lang="en-ZA"/>
        </a:p>
      </dgm:t>
    </dgm:pt>
    <dgm:pt modelId="{EAF82922-FC0C-416C-A5C0-0C2B621FD4FB}">
      <dgm:prSet phldrT="[Text]"/>
      <dgm:spPr/>
      <dgm:t>
        <a:bodyPr/>
        <a:lstStyle/>
        <a:p>
          <a:r>
            <a:rPr lang="en-GB" dirty="0" err="1"/>
            <a:t>MsgId</a:t>
          </a:r>
          <a:endParaRPr lang="en-ZA" dirty="0"/>
        </a:p>
      </dgm:t>
    </dgm:pt>
    <dgm:pt modelId="{4190CC3E-1EE4-44C7-82CC-D459B597054E}" type="parTrans" cxnId="{FBD43D55-FFAE-4D27-9D18-59ABF33B6A5A}">
      <dgm:prSet/>
      <dgm:spPr/>
      <dgm:t>
        <a:bodyPr/>
        <a:lstStyle/>
        <a:p>
          <a:endParaRPr lang="en-ZA"/>
        </a:p>
      </dgm:t>
    </dgm:pt>
    <dgm:pt modelId="{37DB112E-E277-4E03-990A-7B963ECB83EC}" type="sibTrans" cxnId="{FBD43D55-FFAE-4D27-9D18-59ABF33B6A5A}">
      <dgm:prSet/>
      <dgm:spPr/>
      <dgm:t>
        <a:bodyPr/>
        <a:lstStyle/>
        <a:p>
          <a:endParaRPr lang="en-ZA"/>
        </a:p>
      </dgm:t>
    </dgm:pt>
    <dgm:pt modelId="{046E2650-868F-41F0-8466-F7742A798160}">
      <dgm:prSet phldrT="[Text]"/>
      <dgm:spPr/>
      <dgm:t>
        <a:bodyPr/>
        <a:lstStyle/>
        <a:p>
          <a:r>
            <a:rPr lang="en-GB" dirty="0" err="1"/>
            <a:t>CreDtTm</a:t>
          </a:r>
          <a:endParaRPr lang="en-ZA" dirty="0"/>
        </a:p>
      </dgm:t>
    </dgm:pt>
    <dgm:pt modelId="{BB41B7CB-1F05-4852-A488-48A1433A8CBC}" type="parTrans" cxnId="{E1DAB30D-066D-4B5F-BE06-B08986BC1094}">
      <dgm:prSet/>
      <dgm:spPr/>
      <dgm:t>
        <a:bodyPr/>
        <a:lstStyle/>
        <a:p>
          <a:endParaRPr lang="en-ZA"/>
        </a:p>
      </dgm:t>
    </dgm:pt>
    <dgm:pt modelId="{752D7C10-A7A3-48DC-BD29-55BB3B224FB5}" type="sibTrans" cxnId="{E1DAB30D-066D-4B5F-BE06-B08986BC1094}">
      <dgm:prSet/>
      <dgm:spPr/>
      <dgm:t>
        <a:bodyPr/>
        <a:lstStyle/>
        <a:p>
          <a:endParaRPr lang="en-ZA"/>
        </a:p>
      </dgm:t>
    </dgm:pt>
    <dgm:pt modelId="{4733D933-C168-44F6-9B8F-448707F3DD67}">
      <dgm:prSet phldrT="[Text]"/>
      <dgm:spPr/>
      <dgm:t>
        <a:bodyPr/>
        <a:lstStyle/>
        <a:p>
          <a:r>
            <a:rPr lang="en-GB" dirty="0"/>
            <a:t>Amt</a:t>
          </a:r>
          <a:endParaRPr lang="en-ZA" dirty="0"/>
        </a:p>
      </dgm:t>
    </dgm:pt>
    <dgm:pt modelId="{331F1E10-D53E-4EB9-B52D-4E0FABE798D4}" type="parTrans" cxnId="{C2F66100-FB20-40C1-8FB8-76D113229614}">
      <dgm:prSet/>
      <dgm:spPr/>
      <dgm:t>
        <a:bodyPr/>
        <a:lstStyle/>
        <a:p>
          <a:endParaRPr lang="en-ZA"/>
        </a:p>
      </dgm:t>
    </dgm:pt>
    <dgm:pt modelId="{BF44295A-FC92-434C-BFE7-B6AA5B413FC7}" type="sibTrans" cxnId="{C2F66100-FB20-40C1-8FB8-76D113229614}">
      <dgm:prSet/>
      <dgm:spPr/>
      <dgm:t>
        <a:bodyPr/>
        <a:lstStyle/>
        <a:p>
          <a:endParaRPr lang="en-ZA"/>
        </a:p>
      </dgm:t>
    </dgm:pt>
    <dgm:pt modelId="{6C5031C0-CCFF-4B1B-85BE-DC1EBF4FB273}">
      <dgm:prSet phldrT="[Text]"/>
      <dgm:spPr/>
      <dgm:t>
        <a:bodyPr/>
        <a:lstStyle/>
        <a:p>
          <a:r>
            <a:rPr lang="en-GB" dirty="0"/>
            <a:t>Amt</a:t>
          </a:r>
          <a:endParaRPr lang="en-ZA" dirty="0"/>
        </a:p>
      </dgm:t>
    </dgm:pt>
    <dgm:pt modelId="{82F4F6E3-EF73-473E-9645-9C1B0D9BA76A}" type="parTrans" cxnId="{C5F86C85-4B4E-4100-B9E6-6F476AB3C4FA}">
      <dgm:prSet/>
      <dgm:spPr/>
      <dgm:t>
        <a:bodyPr/>
        <a:lstStyle/>
        <a:p>
          <a:endParaRPr lang="en-ZA"/>
        </a:p>
      </dgm:t>
    </dgm:pt>
    <dgm:pt modelId="{657DDEF4-2F03-4338-8613-3CC3E6F3E8BA}" type="sibTrans" cxnId="{C5F86C85-4B4E-4100-B9E6-6F476AB3C4FA}">
      <dgm:prSet/>
      <dgm:spPr/>
      <dgm:t>
        <a:bodyPr/>
        <a:lstStyle/>
        <a:p>
          <a:endParaRPr lang="en-ZA"/>
        </a:p>
      </dgm:t>
    </dgm:pt>
    <dgm:pt modelId="{1B5CD4A5-A51F-43F9-855C-EE417254748B}">
      <dgm:prSet phldrT="[Text]"/>
      <dgm:spPr/>
      <dgm:t>
        <a:bodyPr/>
        <a:lstStyle/>
        <a:p>
          <a:r>
            <a:rPr lang="en-GB" dirty="0"/>
            <a:t>Ccy</a:t>
          </a:r>
          <a:endParaRPr lang="en-ZA" dirty="0"/>
        </a:p>
      </dgm:t>
    </dgm:pt>
    <dgm:pt modelId="{1CC55151-ACFF-4B1D-96EC-F2B70F4FDA62}" type="parTrans" cxnId="{33301E5C-F1A1-4F20-A903-2740954B098D}">
      <dgm:prSet/>
      <dgm:spPr/>
      <dgm:t>
        <a:bodyPr/>
        <a:lstStyle/>
        <a:p>
          <a:endParaRPr lang="en-ZA"/>
        </a:p>
      </dgm:t>
    </dgm:pt>
    <dgm:pt modelId="{811F87AC-9DDE-407C-BD2F-02B8B22E8E9E}" type="sibTrans" cxnId="{33301E5C-F1A1-4F20-A903-2740954B098D}">
      <dgm:prSet/>
      <dgm:spPr/>
      <dgm:t>
        <a:bodyPr/>
        <a:lstStyle/>
        <a:p>
          <a:endParaRPr lang="en-ZA"/>
        </a:p>
      </dgm:t>
    </dgm:pt>
    <dgm:pt modelId="{5BBDDDD1-008F-4058-814D-96A95B695B3A}">
      <dgm:prSet phldrT="[Text]"/>
      <dgm:spPr/>
      <dgm:t>
        <a:bodyPr/>
        <a:lstStyle/>
        <a:p>
          <a:r>
            <a:rPr lang="en-GB" dirty="0" err="1"/>
            <a:t>PmtInfId</a:t>
          </a:r>
          <a:endParaRPr lang="en-ZA" dirty="0"/>
        </a:p>
      </dgm:t>
    </dgm:pt>
    <dgm:pt modelId="{EDC5353B-9D34-4D64-9905-52CA9A74C1CE}" type="parTrans" cxnId="{BB9B9A27-B4DB-4E38-9AD8-9AD4A5D678BA}">
      <dgm:prSet/>
      <dgm:spPr/>
      <dgm:t>
        <a:bodyPr/>
        <a:lstStyle/>
        <a:p>
          <a:endParaRPr lang="en-ZA"/>
        </a:p>
      </dgm:t>
    </dgm:pt>
    <dgm:pt modelId="{629A275A-A5F0-4AFD-9BB5-6166905CBAF0}" type="sibTrans" cxnId="{BB9B9A27-B4DB-4E38-9AD8-9AD4A5D678BA}">
      <dgm:prSet/>
      <dgm:spPr/>
      <dgm:t>
        <a:bodyPr/>
        <a:lstStyle/>
        <a:p>
          <a:endParaRPr lang="en-ZA"/>
        </a:p>
      </dgm:t>
    </dgm:pt>
    <dgm:pt modelId="{57D50F85-5066-4F2D-AEEA-7C812078D07A}">
      <dgm:prSet phldrT="[Text]"/>
      <dgm:spPr/>
      <dgm:t>
        <a:bodyPr/>
        <a:lstStyle/>
        <a:p>
          <a:r>
            <a:rPr lang="en-GB" dirty="0" err="1"/>
            <a:t>PmtId</a:t>
          </a:r>
          <a:endParaRPr lang="en-ZA" dirty="0"/>
        </a:p>
      </dgm:t>
    </dgm:pt>
    <dgm:pt modelId="{60F1E342-2A58-4DBD-83F8-180785611606}" type="parTrans" cxnId="{EE1750F2-B0C0-4F5D-82B5-744531DDA3B8}">
      <dgm:prSet/>
      <dgm:spPr/>
      <dgm:t>
        <a:bodyPr/>
        <a:lstStyle/>
        <a:p>
          <a:endParaRPr lang="en-ZA"/>
        </a:p>
      </dgm:t>
    </dgm:pt>
    <dgm:pt modelId="{79885508-C096-4C01-BD10-A42F7A695AE5}" type="sibTrans" cxnId="{EE1750F2-B0C0-4F5D-82B5-744531DDA3B8}">
      <dgm:prSet/>
      <dgm:spPr/>
      <dgm:t>
        <a:bodyPr/>
        <a:lstStyle/>
        <a:p>
          <a:endParaRPr lang="en-ZA"/>
        </a:p>
      </dgm:t>
    </dgm:pt>
    <dgm:pt modelId="{47A86A1A-E0DD-4CAA-AEB1-464123E9AE35}">
      <dgm:prSet phldrT="[Text]"/>
      <dgm:spPr/>
      <dgm:t>
        <a:bodyPr/>
        <a:lstStyle/>
        <a:p>
          <a:r>
            <a:rPr lang="en-GB" dirty="0" err="1"/>
            <a:t>EndToEndId</a:t>
          </a:r>
          <a:endParaRPr lang="en-ZA" dirty="0"/>
        </a:p>
      </dgm:t>
    </dgm:pt>
    <dgm:pt modelId="{19FF012F-CB9D-400E-81FB-CEA5D54F18CA}" type="parTrans" cxnId="{E7CDF990-67A3-4B31-A8EE-4CA8C36A64D9}">
      <dgm:prSet/>
      <dgm:spPr/>
      <dgm:t>
        <a:bodyPr/>
        <a:lstStyle/>
        <a:p>
          <a:endParaRPr lang="en-ZA"/>
        </a:p>
      </dgm:t>
    </dgm:pt>
    <dgm:pt modelId="{E5D5B91C-DAF0-4F96-B064-EB80C57FD4D1}" type="sibTrans" cxnId="{E7CDF990-67A3-4B31-A8EE-4CA8C36A64D9}">
      <dgm:prSet/>
      <dgm:spPr/>
      <dgm:t>
        <a:bodyPr/>
        <a:lstStyle/>
        <a:p>
          <a:endParaRPr lang="en-ZA"/>
        </a:p>
      </dgm:t>
    </dgm:pt>
    <dgm:pt modelId="{08DDA40A-8037-43EB-A349-C60CF6C76C19}" type="pres">
      <dgm:prSet presAssocID="{22C0AB3C-D0F8-4335-955C-A2F35A659C1A}" presName="Name0" presStyleCnt="0">
        <dgm:presLayoutVars>
          <dgm:orgChart val="1"/>
          <dgm:chPref val="1"/>
          <dgm:dir/>
          <dgm:animOne val="branch"/>
          <dgm:animLvl val="lvl"/>
          <dgm:resizeHandles/>
        </dgm:presLayoutVars>
      </dgm:prSet>
      <dgm:spPr/>
    </dgm:pt>
    <dgm:pt modelId="{B2AAFAE1-7396-4050-AB53-1C215BCA1585}" type="pres">
      <dgm:prSet presAssocID="{2B6F6A5E-0588-455E-95E3-1522AB6CD4FB}" presName="hierRoot1" presStyleCnt="0">
        <dgm:presLayoutVars>
          <dgm:hierBranch val="init"/>
        </dgm:presLayoutVars>
      </dgm:prSet>
      <dgm:spPr/>
    </dgm:pt>
    <dgm:pt modelId="{A1672A94-2A29-4467-AACF-8F2FA9636B95}" type="pres">
      <dgm:prSet presAssocID="{2B6F6A5E-0588-455E-95E3-1522AB6CD4FB}" presName="rootComposite1" presStyleCnt="0"/>
      <dgm:spPr/>
    </dgm:pt>
    <dgm:pt modelId="{D9366E7F-6A6E-41FA-A7C8-DE1EBAFF6B52}" type="pres">
      <dgm:prSet presAssocID="{2B6F6A5E-0588-455E-95E3-1522AB6CD4FB}" presName="rootText1" presStyleLbl="alignAcc1" presStyleIdx="0" presStyleCnt="0">
        <dgm:presLayoutVars>
          <dgm:chPref val="3"/>
        </dgm:presLayoutVars>
      </dgm:prSet>
      <dgm:spPr/>
    </dgm:pt>
    <dgm:pt modelId="{1E9224A7-1545-4AC4-8579-9B93CEFF94F9}" type="pres">
      <dgm:prSet presAssocID="{2B6F6A5E-0588-455E-95E3-1522AB6CD4FB}" presName="topArc1" presStyleLbl="parChTrans1D1" presStyleIdx="0" presStyleCnt="64"/>
      <dgm:spPr/>
    </dgm:pt>
    <dgm:pt modelId="{AAADB1A9-BE65-4DF2-B639-BB0F7C111163}" type="pres">
      <dgm:prSet presAssocID="{2B6F6A5E-0588-455E-95E3-1522AB6CD4FB}" presName="bottomArc1" presStyleLbl="parChTrans1D1" presStyleIdx="1" presStyleCnt="64"/>
      <dgm:spPr/>
    </dgm:pt>
    <dgm:pt modelId="{504382BF-615E-44FE-B459-85C6F9118BF1}" type="pres">
      <dgm:prSet presAssocID="{2B6F6A5E-0588-455E-95E3-1522AB6CD4FB}" presName="topConnNode1" presStyleLbl="node1" presStyleIdx="0" presStyleCnt="0"/>
      <dgm:spPr/>
    </dgm:pt>
    <dgm:pt modelId="{F5F01010-49C1-4374-8CAA-E04DA79B1924}" type="pres">
      <dgm:prSet presAssocID="{2B6F6A5E-0588-455E-95E3-1522AB6CD4FB}" presName="hierChild2" presStyleCnt="0"/>
      <dgm:spPr/>
    </dgm:pt>
    <dgm:pt modelId="{E2E1E7C9-4917-4E9C-8339-745DEF43DCE9}" type="pres">
      <dgm:prSet presAssocID="{57517ACF-F62B-45A4-8417-E6FE9FEBCE8D}" presName="Name28" presStyleLbl="parChTrans1D2" presStyleIdx="0" presStyleCnt="2"/>
      <dgm:spPr/>
    </dgm:pt>
    <dgm:pt modelId="{02B3C89F-3F03-4DC6-A3C9-C4452C2C5FE0}" type="pres">
      <dgm:prSet presAssocID="{060C64C6-09C8-4308-B932-2FAE08483251}" presName="hierRoot2" presStyleCnt="0">
        <dgm:presLayoutVars>
          <dgm:hierBranch val="init"/>
        </dgm:presLayoutVars>
      </dgm:prSet>
      <dgm:spPr/>
    </dgm:pt>
    <dgm:pt modelId="{E33215B9-9848-49A8-8EBE-64E158630CA5}" type="pres">
      <dgm:prSet presAssocID="{060C64C6-09C8-4308-B932-2FAE08483251}" presName="rootComposite2" presStyleCnt="0"/>
      <dgm:spPr/>
    </dgm:pt>
    <dgm:pt modelId="{97CA699A-1A94-47E1-B5F4-4F1975DE0FCF}" type="pres">
      <dgm:prSet presAssocID="{060C64C6-09C8-4308-B932-2FAE08483251}" presName="rootText2" presStyleLbl="alignAcc1" presStyleIdx="0" presStyleCnt="0">
        <dgm:presLayoutVars>
          <dgm:chPref val="3"/>
        </dgm:presLayoutVars>
      </dgm:prSet>
      <dgm:spPr/>
    </dgm:pt>
    <dgm:pt modelId="{F953C57F-281A-4A94-911A-6FAC02AFAE83}" type="pres">
      <dgm:prSet presAssocID="{060C64C6-09C8-4308-B932-2FAE08483251}" presName="topArc2" presStyleLbl="parChTrans1D1" presStyleIdx="2" presStyleCnt="64"/>
      <dgm:spPr/>
    </dgm:pt>
    <dgm:pt modelId="{1CD464EE-DCA7-4197-9B90-A976CF110C9F}" type="pres">
      <dgm:prSet presAssocID="{060C64C6-09C8-4308-B932-2FAE08483251}" presName="bottomArc2" presStyleLbl="parChTrans1D1" presStyleIdx="3" presStyleCnt="64"/>
      <dgm:spPr/>
    </dgm:pt>
    <dgm:pt modelId="{038D31BA-DFAA-4BC9-A341-CF94FF933E17}" type="pres">
      <dgm:prSet presAssocID="{060C64C6-09C8-4308-B932-2FAE08483251}" presName="topConnNode2" presStyleLbl="node2" presStyleIdx="0" presStyleCnt="0"/>
      <dgm:spPr/>
    </dgm:pt>
    <dgm:pt modelId="{C6736307-A3DA-473C-9D51-9D9CBB84A06F}" type="pres">
      <dgm:prSet presAssocID="{060C64C6-09C8-4308-B932-2FAE08483251}" presName="hierChild4" presStyleCnt="0"/>
      <dgm:spPr/>
    </dgm:pt>
    <dgm:pt modelId="{92BDF363-4D79-4CBB-A6DE-B58E8FF0BBC5}" type="pres">
      <dgm:prSet presAssocID="{060C64C6-09C8-4308-B932-2FAE08483251}" presName="hierChild5" presStyleCnt="0"/>
      <dgm:spPr/>
    </dgm:pt>
    <dgm:pt modelId="{F41A39D9-DF4E-440E-9ED5-0F751B5F9057}" type="pres">
      <dgm:prSet presAssocID="{803F7FF8-7BF7-418B-A484-73451E49DA53}" presName="Name28" presStyleLbl="parChTrans1D2" presStyleIdx="1" presStyleCnt="2"/>
      <dgm:spPr/>
    </dgm:pt>
    <dgm:pt modelId="{718E4796-761E-4368-8C3C-2AE134DD87E2}" type="pres">
      <dgm:prSet presAssocID="{F65787E2-7756-4C66-BEF0-11FD60093AAF}" presName="hierRoot2" presStyleCnt="0">
        <dgm:presLayoutVars>
          <dgm:hierBranch val="init"/>
        </dgm:presLayoutVars>
      </dgm:prSet>
      <dgm:spPr/>
    </dgm:pt>
    <dgm:pt modelId="{5BCEA3BF-B912-4D38-961E-01D7E9264E18}" type="pres">
      <dgm:prSet presAssocID="{F65787E2-7756-4C66-BEF0-11FD60093AAF}" presName="rootComposite2" presStyleCnt="0"/>
      <dgm:spPr/>
    </dgm:pt>
    <dgm:pt modelId="{7B88BA2E-7E15-48D5-92C0-12D4B29A658A}" type="pres">
      <dgm:prSet presAssocID="{F65787E2-7756-4C66-BEF0-11FD60093AAF}" presName="rootText2" presStyleLbl="alignAcc1" presStyleIdx="0" presStyleCnt="0" custScaleX="179373" custScaleY="89954">
        <dgm:presLayoutVars>
          <dgm:chPref val="3"/>
        </dgm:presLayoutVars>
      </dgm:prSet>
      <dgm:spPr/>
    </dgm:pt>
    <dgm:pt modelId="{995C14E7-8405-466C-B93A-2EF3CE026134}" type="pres">
      <dgm:prSet presAssocID="{F65787E2-7756-4C66-BEF0-11FD60093AAF}" presName="topArc2" presStyleLbl="parChTrans1D1" presStyleIdx="4" presStyleCnt="64"/>
      <dgm:spPr/>
    </dgm:pt>
    <dgm:pt modelId="{38908B38-86FD-4DCD-8D3F-DF53E56E083A}" type="pres">
      <dgm:prSet presAssocID="{F65787E2-7756-4C66-BEF0-11FD60093AAF}" presName="bottomArc2" presStyleLbl="parChTrans1D1" presStyleIdx="5" presStyleCnt="64"/>
      <dgm:spPr/>
    </dgm:pt>
    <dgm:pt modelId="{9E0965E1-D7F8-4154-A89F-DB515A0411C4}" type="pres">
      <dgm:prSet presAssocID="{F65787E2-7756-4C66-BEF0-11FD60093AAF}" presName="topConnNode2" presStyleLbl="node2" presStyleIdx="0" presStyleCnt="0"/>
      <dgm:spPr/>
    </dgm:pt>
    <dgm:pt modelId="{A6D83683-3B80-445D-9E11-D4FE175A2F70}" type="pres">
      <dgm:prSet presAssocID="{F65787E2-7756-4C66-BEF0-11FD60093AAF}" presName="hierChild4" presStyleCnt="0"/>
      <dgm:spPr/>
    </dgm:pt>
    <dgm:pt modelId="{F9CAA90F-B10D-4491-B6DC-42E3E9A873C6}" type="pres">
      <dgm:prSet presAssocID="{BCD1DA77-ED8C-4452-8031-746126E24E7C}" presName="Name28" presStyleLbl="parChTrans1D3" presStyleIdx="0" presStyleCnt="2"/>
      <dgm:spPr/>
    </dgm:pt>
    <dgm:pt modelId="{3E0955CD-AFFE-4688-B1B3-335668E27A00}" type="pres">
      <dgm:prSet presAssocID="{B647F2CE-1C64-40F9-84E4-21168066050C}" presName="hierRoot2" presStyleCnt="0">
        <dgm:presLayoutVars>
          <dgm:hierBranch val="init"/>
        </dgm:presLayoutVars>
      </dgm:prSet>
      <dgm:spPr/>
    </dgm:pt>
    <dgm:pt modelId="{7FCEB613-F698-4E18-9212-72B8E3B824EB}" type="pres">
      <dgm:prSet presAssocID="{B647F2CE-1C64-40F9-84E4-21168066050C}" presName="rootComposite2" presStyleCnt="0"/>
      <dgm:spPr/>
    </dgm:pt>
    <dgm:pt modelId="{5CCCFC77-723E-427E-B338-7E6F187A388F}" type="pres">
      <dgm:prSet presAssocID="{B647F2CE-1C64-40F9-84E4-21168066050C}" presName="rootText2" presStyleLbl="alignAcc1" presStyleIdx="0" presStyleCnt="0">
        <dgm:presLayoutVars>
          <dgm:chPref val="3"/>
        </dgm:presLayoutVars>
      </dgm:prSet>
      <dgm:spPr/>
    </dgm:pt>
    <dgm:pt modelId="{6217FC5F-5064-48D5-AB32-8FF1887B4E25}" type="pres">
      <dgm:prSet presAssocID="{B647F2CE-1C64-40F9-84E4-21168066050C}" presName="topArc2" presStyleLbl="parChTrans1D1" presStyleIdx="6" presStyleCnt="64"/>
      <dgm:spPr/>
    </dgm:pt>
    <dgm:pt modelId="{ECCCBE76-9DF0-44F7-AE74-4CC7F8B64BF3}" type="pres">
      <dgm:prSet presAssocID="{B647F2CE-1C64-40F9-84E4-21168066050C}" presName="bottomArc2" presStyleLbl="parChTrans1D1" presStyleIdx="7" presStyleCnt="64"/>
      <dgm:spPr/>
    </dgm:pt>
    <dgm:pt modelId="{04FC8767-D1E3-41B6-9EAA-60253D69643C}" type="pres">
      <dgm:prSet presAssocID="{B647F2CE-1C64-40F9-84E4-21168066050C}" presName="topConnNode2" presStyleLbl="node3" presStyleIdx="0" presStyleCnt="0"/>
      <dgm:spPr/>
    </dgm:pt>
    <dgm:pt modelId="{62BD7ADC-9604-4F8F-BBA6-A0CA2E6138F3}" type="pres">
      <dgm:prSet presAssocID="{B647F2CE-1C64-40F9-84E4-21168066050C}" presName="hierChild4" presStyleCnt="0"/>
      <dgm:spPr/>
    </dgm:pt>
    <dgm:pt modelId="{350714AE-A374-4101-9A2D-B44735231374}" type="pres">
      <dgm:prSet presAssocID="{4190CC3E-1EE4-44C7-82CC-D459B597054E}" presName="Name28" presStyleLbl="parChTrans1D4" presStyleIdx="0" presStyleCnt="27"/>
      <dgm:spPr/>
    </dgm:pt>
    <dgm:pt modelId="{982B7632-182E-4346-9D67-546B31614E1A}" type="pres">
      <dgm:prSet presAssocID="{EAF82922-FC0C-416C-A5C0-0C2B621FD4FB}" presName="hierRoot2" presStyleCnt="0">
        <dgm:presLayoutVars>
          <dgm:hierBranch val="init"/>
        </dgm:presLayoutVars>
      </dgm:prSet>
      <dgm:spPr/>
    </dgm:pt>
    <dgm:pt modelId="{5C783B9B-7830-4113-B83E-C5C876A27A59}" type="pres">
      <dgm:prSet presAssocID="{EAF82922-FC0C-416C-A5C0-0C2B621FD4FB}" presName="rootComposite2" presStyleCnt="0"/>
      <dgm:spPr/>
    </dgm:pt>
    <dgm:pt modelId="{229175AE-4B39-44A8-A902-80C910CE344D}" type="pres">
      <dgm:prSet presAssocID="{EAF82922-FC0C-416C-A5C0-0C2B621FD4FB}" presName="rootText2" presStyleLbl="alignAcc1" presStyleIdx="0" presStyleCnt="0">
        <dgm:presLayoutVars>
          <dgm:chPref val="3"/>
        </dgm:presLayoutVars>
      </dgm:prSet>
      <dgm:spPr/>
    </dgm:pt>
    <dgm:pt modelId="{4FE317B6-F7FD-4646-8AE9-DA818C662145}" type="pres">
      <dgm:prSet presAssocID="{EAF82922-FC0C-416C-A5C0-0C2B621FD4FB}" presName="topArc2" presStyleLbl="parChTrans1D1" presStyleIdx="8" presStyleCnt="64"/>
      <dgm:spPr/>
    </dgm:pt>
    <dgm:pt modelId="{7F78F68C-CC1A-4046-97B3-6108A277B8AC}" type="pres">
      <dgm:prSet presAssocID="{EAF82922-FC0C-416C-A5C0-0C2B621FD4FB}" presName="bottomArc2" presStyleLbl="parChTrans1D1" presStyleIdx="9" presStyleCnt="64"/>
      <dgm:spPr/>
    </dgm:pt>
    <dgm:pt modelId="{0547277F-D933-4350-811B-F0C0A68135D0}" type="pres">
      <dgm:prSet presAssocID="{EAF82922-FC0C-416C-A5C0-0C2B621FD4FB}" presName="topConnNode2" presStyleLbl="node4" presStyleIdx="0" presStyleCnt="0"/>
      <dgm:spPr/>
    </dgm:pt>
    <dgm:pt modelId="{A6995B99-4294-46A3-99AF-93064A7D36B0}" type="pres">
      <dgm:prSet presAssocID="{EAF82922-FC0C-416C-A5C0-0C2B621FD4FB}" presName="hierChild4" presStyleCnt="0"/>
      <dgm:spPr/>
    </dgm:pt>
    <dgm:pt modelId="{7EAB237E-98F6-4C0D-AD21-147FAEF921DF}" type="pres">
      <dgm:prSet presAssocID="{EAF82922-FC0C-416C-A5C0-0C2B621FD4FB}" presName="hierChild5" presStyleCnt="0"/>
      <dgm:spPr/>
    </dgm:pt>
    <dgm:pt modelId="{36ECCC44-33A4-4CA1-A2AD-0BF0AB5E9B93}" type="pres">
      <dgm:prSet presAssocID="{BB41B7CB-1F05-4852-A488-48A1433A8CBC}" presName="Name28" presStyleLbl="parChTrans1D4" presStyleIdx="1" presStyleCnt="27"/>
      <dgm:spPr/>
    </dgm:pt>
    <dgm:pt modelId="{923FE35E-42D2-4A82-9285-A7BCEBC02E07}" type="pres">
      <dgm:prSet presAssocID="{046E2650-868F-41F0-8466-F7742A798160}" presName="hierRoot2" presStyleCnt="0">
        <dgm:presLayoutVars>
          <dgm:hierBranch val="init"/>
        </dgm:presLayoutVars>
      </dgm:prSet>
      <dgm:spPr/>
    </dgm:pt>
    <dgm:pt modelId="{E043EC88-5306-4CD3-A88C-A8955F51CAE5}" type="pres">
      <dgm:prSet presAssocID="{046E2650-868F-41F0-8466-F7742A798160}" presName="rootComposite2" presStyleCnt="0"/>
      <dgm:spPr/>
    </dgm:pt>
    <dgm:pt modelId="{8449AC6C-F545-4E48-B6B4-425CFC658D71}" type="pres">
      <dgm:prSet presAssocID="{046E2650-868F-41F0-8466-F7742A798160}" presName="rootText2" presStyleLbl="alignAcc1" presStyleIdx="0" presStyleCnt="0">
        <dgm:presLayoutVars>
          <dgm:chPref val="3"/>
        </dgm:presLayoutVars>
      </dgm:prSet>
      <dgm:spPr/>
    </dgm:pt>
    <dgm:pt modelId="{7B937A49-0FC7-4E20-987D-989F9C2C0152}" type="pres">
      <dgm:prSet presAssocID="{046E2650-868F-41F0-8466-F7742A798160}" presName="topArc2" presStyleLbl="parChTrans1D1" presStyleIdx="10" presStyleCnt="64"/>
      <dgm:spPr/>
    </dgm:pt>
    <dgm:pt modelId="{4729FAB0-C196-4FAF-90C6-AC8270CB3B2C}" type="pres">
      <dgm:prSet presAssocID="{046E2650-868F-41F0-8466-F7742A798160}" presName="bottomArc2" presStyleLbl="parChTrans1D1" presStyleIdx="11" presStyleCnt="64"/>
      <dgm:spPr/>
    </dgm:pt>
    <dgm:pt modelId="{CBD740CE-3B5C-4AAC-A022-08DD878EE574}" type="pres">
      <dgm:prSet presAssocID="{046E2650-868F-41F0-8466-F7742A798160}" presName="topConnNode2" presStyleLbl="node4" presStyleIdx="0" presStyleCnt="0"/>
      <dgm:spPr/>
    </dgm:pt>
    <dgm:pt modelId="{0D4F8859-7D4E-4960-A64D-D5FD3CC11448}" type="pres">
      <dgm:prSet presAssocID="{046E2650-868F-41F0-8466-F7742A798160}" presName="hierChild4" presStyleCnt="0"/>
      <dgm:spPr/>
    </dgm:pt>
    <dgm:pt modelId="{13BFB8B4-CE44-4289-86F6-DBBE0EEF28BE}" type="pres">
      <dgm:prSet presAssocID="{046E2650-868F-41F0-8466-F7742A798160}" presName="hierChild5" presStyleCnt="0"/>
      <dgm:spPr/>
    </dgm:pt>
    <dgm:pt modelId="{5F833679-5F94-40B9-8797-59419451B1C5}" type="pres">
      <dgm:prSet presAssocID="{B647F2CE-1C64-40F9-84E4-21168066050C}" presName="hierChild5" presStyleCnt="0"/>
      <dgm:spPr/>
    </dgm:pt>
    <dgm:pt modelId="{CF740B0E-601A-4F7A-A458-97DFD17CB6B5}" type="pres">
      <dgm:prSet presAssocID="{A787CEE8-DFC8-488E-A6A8-5F4576F18C28}" presName="Name28" presStyleLbl="parChTrans1D3" presStyleIdx="1" presStyleCnt="2"/>
      <dgm:spPr/>
    </dgm:pt>
    <dgm:pt modelId="{8F898A1A-7958-4FBB-A223-DD2B093729B4}" type="pres">
      <dgm:prSet presAssocID="{9CFE57A0-D5EB-4298-BF0A-032DEAE47C89}" presName="hierRoot2" presStyleCnt="0">
        <dgm:presLayoutVars>
          <dgm:hierBranch val="init"/>
        </dgm:presLayoutVars>
      </dgm:prSet>
      <dgm:spPr/>
    </dgm:pt>
    <dgm:pt modelId="{362A6839-F8A9-4E4A-BEB3-F9EDFE5C2479}" type="pres">
      <dgm:prSet presAssocID="{9CFE57A0-D5EB-4298-BF0A-032DEAE47C89}" presName="rootComposite2" presStyleCnt="0"/>
      <dgm:spPr/>
    </dgm:pt>
    <dgm:pt modelId="{809B8C55-F589-4FA5-9EA4-4FFD2B6B781C}" type="pres">
      <dgm:prSet presAssocID="{9CFE57A0-D5EB-4298-BF0A-032DEAE47C89}" presName="rootText2" presStyleLbl="alignAcc1" presStyleIdx="0" presStyleCnt="0">
        <dgm:presLayoutVars>
          <dgm:chPref val="3"/>
        </dgm:presLayoutVars>
      </dgm:prSet>
      <dgm:spPr/>
    </dgm:pt>
    <dgm:pt modelId="{81CA8E44-B2F1-4CE4-A652-4984C02CDF02}" type="pres">
      <dgm:prSet presAssocID="{9CFE57A0-D5EB-4298-BF0A-032DEAE47C89}" presName="topArc2" presStyleLbl="parChTrans1D1" presStyleIdx="12" presStyleCnt="64"/>
      <dgm:spPr/>
    </dgm:pt>
    <dgm:pt modelId="{D314EC38-9305-4CAD-A67B-C3E3AD28B96B}" type="pres">
      <dgm:prSet presAssocID="{9CFE57A0-D5EB-4298-BF0A-032DEAE47C89}" presName="bottomArc2" presStyleLbl="parChTrans1D1" presStyleIdx="13" presStyleCnt="64"/>
      <dgm:spPr/>
    </dgm:pt>
    <dgm:pt modelId="{766C2DBD-456E-48E6-BEAA-BBFB63E4B8AD}" type="pres">
      <dgm:prSet presAssocID="{9CFE57A0-D5EB-4298-BF0A-032DEAE47C89}" presName="topConnNode2" presStyleLbl="node3" presStyleIdx="0" presStyleCnt="0"/>
      <dgm:spPr/>
    </dgm:pt>
    <dgm:pt modelId="{0E89CC40-79EF-49BC-BB43-19705F982559}" type="pres">
      <dgm:prSet presAssocID="{9CFE57A0-D5EB-4298-BF0A-032DEAE47C89}" presName="hierChild4" presStyleCnt="0"/>
      <dgm:spPr/>
    </dgm:pt>
    <dgm:pt modelId="{EE6E3EB4-9ABE-4F8A-A22C-4D4E72CA575A}" type="pres">
      <dgm:prSet presAssocID="{EDC5353B-9D34-4D64-9905-52CA9A74C1CE}" presName="Name28" presStyleLbl="parChTrans1D4" presStyleIdx="2" presStyleCnt="27"/>
      <dgm:spPr/>
    </dgm:pt>
    <dgm:pt modelId="{13F49258-6D68-4504-A5FF-EF480A114008}" type="pres">
      <dgm:prSet presAssocID="{5BBDDDD1-008F-4058-814D-96A95B695B3A}" presName="hierRoot2" presStyleCnt="0">
        <dgm:presLayoutVars>
          <dgm:hierBranch val="init"/>
        </dgm:presLayoutVars>
      </dgm:prSet>
      <dgm:spPr/>
    </dgm:pt>
    <dgm:pt modelId="{09DD5F4C-0C49-4BD1-88BD-652702BD2022}" type="pres">
      <dgm:prSet presAssocID="{5BBDDDD1-008F-4058-814D-96A95B695B3A}" presName="rootComposite2" presStyleCnt="0"/>
      <dgm:spPr/>
    </dgm:pt>
    <dgm:pt modelId="{76143FFA-F6E3-4072-BF54-7AADD1946B3B}" type="pres">
      <dgm:prSet presAssocID="{5BBDDDD1-008F-4058-814D-96A95B695B3A}" presName="rootText2" presStyleLbl="alignAcc1" presStyleIdx="0" presStyleCnt="0">
        <dgm:presLayoutVars>
          <dgm:chPref val="3"/>
        </dgm:presLayoutVars>
      </dgm:prSet>
      <dgm:spPr/>
    </dgm:pt>
    <dgm:pt modelId="{4A3DF27A-EB5C-4281-8836-9EB4D98F12EE}" type="pres">
      <dgm:prSet presAssocID="{5BBDDDD1-008F-4058-814D-96A95B695B3A}" presName="topArc2" presStyleLbl="parChTrans1D1" presStyleIdx="14" presStyleCnt="64"/>
      <dgm:spPr/>
    </dgm:pt>
    <dgm:pt modelId="{F0507202-652E-4F31-81F6-4BC5538EEC45}" type="pres">
      <dgm:prSet presAssocID="{5BBDDDD1-008F-4058-814D-96A95B695B3A}" presName="bottomArc2" presStyleLbl="parChTrans1D1" presStyleIdx="15" presStyleCnt="64"/>
      <dgm:spPr/>
    </dgm:pt>
    <dgm:pt modelId="{E8A5070C-6021-42B1-AD5B-34961A2C929C}" type="pres">
      <dgm:prSet presAssocID="{5BBDDDD1-008F-4058-814D-96A95B695B3A}" presName="topConnNode2" presStyleLbl="node4" presStyleIdx="0" presStyleCnt="0"/>
      <dgm:spPr/>
    </dgm:pt>
    <dgm:pt modelId="{CE060031-4FF1-4DDE-B03F-9736A9C310FA}" type="pres">
      <dgm:prSet presAssocID="{5BBDDDD1-008F-4058-814D-96A95B695B3A}" presName="hierChild4" presStyleCnt="0"/>
      <dgm:spPr/>
    </dgm:pt>
    <dgm:pt modelId="{8108F58B-8F60-444D-AE5B-3A15B76CBCF4}" type="pres">
      <dgm:prSet presAssocID="{5BBDDDD1-008F-4058-814D-96A95B695B3A}" presName="hierChild5" presStyleCnt="0"/>
      <dgm:spPr/>
    </dgm:pt>
    <dgm:pt modelId="{D6A2D432-B58E-40C1-9A82-A27476AD2F7E}" type="pres">
      <dgm:prSet presAssocID="{319D220E-7C91-4790-AD36-7084297B9C65}" presName="Name28" presStyleLbl="parChTrans1D4" presStyleIdx="3" presStyleCnt="27"/>
      <dgm:spPr/>
    </dgm:pt>
    <dgm:pt modelId="{F76D7A86-DFF3-44CC-8F4D-1E55300FAC60}" type="pres">
      <dgm:prSet presAssocID="{AE0949AF-1989-4CBC-9F27-9FC8CF2D0001}" presName="hierRoot2" presStyleCnt="0">
        <dgm:presLayoutVars>
          <dgm:hierBranch val="init"/>
        </dgm:presLayoutVars>
      </dgm:prSet>
      <dgm:spPr/>
    </dgm:pt>
    <dgm:pt modelId="{D4EBE7D9-4265-49A6-992C-EC09D5E68472}" type="pres">
      <dgm:prSet presAssocID="{AE0949AF-1989-4CBC-9F27-9FC8CF2D0001}" presName="rootComposite2" presStyleCnt="0"/>
      <dgm:spPr/>
    </dgm:pt>
    <dgm:pt modelId="{AD935055-3BD8-419E-9707-01D97E48D997}" type="pres">
      <dgm:prSet presAssocID="{AE0949AF-1989-4CBC-9F27-9FC8CF2D0001}" presName="rootText2" presStyleLbl="alignAcc1" presStyleIdx="0" presStyleCnt="0">
        <dgm:presLayoutVars>
          <dgm:chPref val="3"/>
        </dgm:presLayoutVars>
      </dgm:prSet>
      <dgm:spPr/>
    </dgm:pt>
    <dgm:pt modelId="{F2401BFE-862A-44D7-94B5-9F63E3DCF580}" type="pres">
      <dgm:prSet presAssocID="{AE0949AF-1989-4CBC-9F27-9FC8CF2D0001}" presName="topArc2" presStyleLbl="parChTrans1D1" presStyleIdx="16" presStyleCnt="64"/>
      <dgm:spPr/>
    </dgm:pt>
    <dgm:pt modelId="{8763FEDE-2533-4DD0-93D4-070E760BABAC}" type="pres">
      <dgm:prSet presAssocID="{AE0949AF-1989-4CBC-9F27-9FC8CF2D0001}" presName="bottomArc2" presStyleLbl="parChTrans1D1" presStyleIdx="17" presStyleCnt="64"/>
      <dgm:spPr/>
    </dgm:pt>
    <dgm:pt modelId="{D635CE07-5981-42E0-BA23-587EE54041A6}" type="pres">
      <dgm:prSet presAssocID="{AE0949AF-1989-4CBC-9F27-9FC8CF2D0001}" presName="topConnNode2" presStyleLbl="node4" presStyleIdx="0" presStyleCnt="0"/>
      <dgm:spPr/>
    </dgm:pt>
    <dgm:pt modelId="{A7328BF8-6A29-46EC-8C8A-B4B1A39858E3}" type="pres">
      <dgm:prSet presAssocID="{AE0949AF-1989-4CBC-9F27-9FC8CF2D0001}" presName="hierChild4" presStyleCnt="0"/>
      <dgm:spPr/>
    </dgm:pt>
    <dgm:pt modelId="{D61B8DF3-62A7-41F3-82E2-B6A4D974E7AF}" type="pres">
      <dgm:prSet presAssocID="{DA6E3D67-0B1A-4930-99D3-AFE76A31EADF}" presName="Name28" presStyleLbl="parChTrans1D4" presStyleIdx="4" presStyleCnt="27"/>
      <dgm:spPr/>
    </dgm:pt>
    <dgm:pt modelId="{711ADFC5-C42D-4836-AF19-3CC5BB8B49C1}" type="pres">
      <dgm:prSet presAssocID="{96073AD0-F498-4ECD-9088-904628E1CCA7}" presName="hierRoot2" presStyleCnt="0">
        <dgm:presLayoutVars>
          <dgm:hierBranch val="init"/>
        </dgm:presLayoutVars>
      </dgm:prSet>
      <dgm:spPr/>
    </dgm:pt>
    <dgm:pt modelId="{7CDD84D8-FEAB-457B-81CF-37DD5EAA57FC}" type="pres">
      <dgm:prSet presAssocID="{96073AD0-F498-4ECD-9088-904628E1CCA7}" presName="rootComposite2" presStyleCnt="0"/>
      <dgm:spPr/>
    </dgm:pt>
    <dgm:pt modelId="{053DA5B7-6108-45C6-BF0A-F837833E157D}" type="pres">
      <dgm:prSet presAssocID="{96073AD0-F498-4ECD-9088-904628E1CCA7}" presName="rootText2" presStyleLbl="alignAcc1" presStyleIdx="0" presStyleCnt="0">
        <dgm:presLayoutVars>
          <dgm:chPref val="3"/>
        </dgm:presLayoutVars>
      </dgm:prSet>
      <dgm:spPr/>
    </dgm:pt>
    <dgm:pt modelId="{7D03D7EC-7564-43F6-9CE7-CF5CFF0DAA28}" type="pres">
      <dgm:prSet presAssocID="{96073AD0-F498-4ECD-9088-904628E1CCA7}" presName="topArc2" presStyleLbl="parChTrans1D1" presStyleIdx="18" presStyleCnt="64"/>
      <dgm:spPr/>
    </dgm:pt>
    <dgm:pt modelId="{2386EAD0-82BB-4699-B9C2-F8120412E4B5}" type="pres">
      <dgm:prSet presAssocID="{96073AD0-F498-4ECD-9088-904628E1CCA7}" presName="bottomArc2" presStyleLbl="parChTrans1D1" presStyleIdx="19" presStyleCnt="64"/>
      <dgm:spPr/>
    </dgm:pt>
    <dgm:pt modelId="{4A7AA261-A199-4E49-BF57-AB094F895424}" type="pres">
      <dgm:prSet presAssocID="{96073AD0-F498-4ECD-9088-904628E1CCA7}" presName="topConnNode2" presStyleLbl="node4" presStyleIdx="0" presStyleCnt="0"/>
      <dgm:spPr/>
    </dgm:pt>
    <dgm:pt modelId="{337685D4-D091-462E-AE2A-319C41D69AFA}" type="pres">
      <dgm:prSet presAssocID="{96073AD0-F498-4ECD-9088-904628E1CCA7}" presName="hierChild4" presStyleCnt="0"/>
      <dgm:spPr/>
    </dgm:pt>
    <dgm:pt modelId="{6CEB7884-99F7-451B-829C-4BD11BB29DA5}" type="pres">
      <dgm:prSet presAssocID="{D7237FA1-6D7F-46F0-B83F-149ECC0CB84D}" presName="Name28" presStyleLbl="parChTrans1D4" presStyleIdx="5" presStyleCnt="27"/>
      <dgm:spPr/>
    </dgm:pt>
    <dgm:pt modelId="{10B48FBB-A7DC-47B1-A15C-E2BCCE9A8E0F}" type="pres">
      <dgm:prSet presAssocID="{E6233824-91A3-417E-A6A8-8B20DE76D326}" presName="hierRoot2" presStyleCnt="0">
        <dgm:presLayoutVars>
          <dgm:hierBranch val="init"/>
        </dgm:presLayoutVars>
      </dgm:prSet>
      <dgm:spPr/>
    </dgm:pt>
    <dgm:pt modelId="{6A1AD796-7E75-4BF4-8AD0-2A801C9E247E}" type="pres">
      <dgm:prSet presAssocID="{E6233824-91A3-417E-A6A8-8B20DE76D326}" presName="rootComposite2" presStyleCnt="0"/>
      <dgm:spPr/>
    </dgm:pt>
    <dgm:pt modelId="{8D3BD8AF-F9F6-4BDD-A6BE-0F76BE37B178}" type="pres">
      <dgm:prSet presAssocID="{E6233824-91A3-417E-A6A8-8B20DE76D326}" presName="rootText2" presStyleLbl="alignAcc1" presStyleIdx="0" presStyleCnt="0">
        <dgm:presLayoutVars>
          <dgm:chPref val="3"/>
        </dgm:presLayoutVars>
      </dgm:prSet>
      <dgm:spPr/>
    </dgm:pt>
    <dgm:pt modelId="{9931BC70-64F1-4F23-BBBB-4D92896B9430}" type="pres">
      <dgm:prSet presAssocID="{E6233824-91A3-417E-A6A8-8B20DE76D326}" presName="topArc2" presStyleLbl="parChTrans1D1" presStyleIdx="20" presStyleCnt="64"/>
      <dgm:spPr/>
    </dgm:pt>
    <dgm:pt modelId="{6A613793-196D-4EC0-9808-F1C8509D4781}" type="pres">
      <dgm:prSet presAssocID="{E6233824-91A3-417E-A6A8-8B20DE76D326}" presName="bottomArc2" presStyleLbl="parChTrans1D1" presStyleIdx="21" presStyleCnt="64"/>
      <dgm:spPr/>
    </dgm:pt>
    <dgm:pt modelId="{F6467762-CBC9-4A01-9C07-4A9B3B4CF849}" type="pres">
      <dgm:prSet presAssocID="{E6233824-91A3-417E-A6A8-8B20DE76D326}" presName="topConnNode2" presStyleLbl="node4" presStyleIdx="0" presStyleCnt="0"/>
      <dgm:spPr/>
    </dgm:pt>
    <dgm:pt modelId="{7D1A469A-0B6F-4AF6-88B2-332337937BBF}" type="pres">
      <dgm:prSet presAssocID="{E6233824-91A3-417E-A6A8-8B20DE76D326}" presName="hierChild4" presStyleCnt="0"/>
      <dgm:spPr/>
    </dgm:pt>
    <dgm:pt modelId="{8116904A-5D55-4D1C-BC03-735E9EE7D038}" type="pres">
      <dgm:prSet presAssocID="{EF9120D2-3FBD-49A4-885C-B18B1C315A5F}" presName="Name28" presStyleLbl="parChTrans1D4" presStyleIdx="6" presStyleCnt="27"/>
      <dgm:spPr/>
    </dgm:pt>
    <dgm:pt modelId="{91EB5089-23F7-4FD2-B1FC-D62448A4E805}" type="pres">
      <dgm:prSet presAssocID="{0E9E549F-3920-46C6-B0D2-FDB3687AB785}" presName="hierRoot2" presStyleCnt="0">
        <dgm:presLayoutVars>
          <dgm:hierBranch val="init"/>
        </dgm:presLayoutVars>
      </dgm:prSet>
      <dgm:spPr/>
    </dgm:pt>
    <dgm:pt modelId="{85111E11-2508-4D89-A10D-A4906FD10A47}" type="pres">
      <dgm:prSet presAssocID="{0E9E549F-3920-46C6-B0D2-FDB3687AB785}" presName="rootComposite2" presStyleCnt="0"/>
      <dgm:spPr/>
    </dgm:pt>
    <dgm:pt modelId="{0ADF5DBA-6C53-4566-8611-22A0B4A4A1A3}" type="pres">
      <dgm:prSet presAssocID="{0E9E549F-3920-46C6-B0D2-FDB3687AB785}" presName="rootText2" presStyleLbl="alignAcc1" presStyleIdx="0" presStyleCnt="0">
        <dgm:presLayoutVars>
          <dgm:chPref val="3"/>
        </dgm:presLayoutVars>
      </dgm:prSet>
      <dgm:spPr/>
    </dgm:pt>
    <dgm:pt modelId="{BBEFA44D-6107-460C-B6BE-85DC1F7781A8}" type="pres">
      <dgm:prSet presAssocID="{0E9E549F-3920-46C6-B0D2-FDB3687AB785}" presName="topArc2" presStyleLbl="parChTrans1D1" presStyleIdx="22" presStyleCnt="64"/>
      <dgm:spPr/>
    </dgm:pt>
    <dgm:pt modelId="{B399396E-7E4C-4B18-88EA-B4E053015215}" type="pres">
      <dgm:prSet presAssocID="{0E9E549F-3920-46C6-B0D2-FDB3687AB785}" presName="bottomArc2" presStyleLbl="parChTrans1D1" presStyleIdx="23" presStyleCnt="64"/>
      <dgm:spPr/>
    </dgm:pt>
    <dgm:pt modelId="{F083815D-1D3D-4F52-B0EF-BF9C648C9253}" type="pres">
      <dgm:prSet presAssocID="{0E9E549F-3920-46C6-B0D2-FDB3687AB785}" presName="topConnNode2" presStyleLbl="node4" presStyleIdx="0" presStyleCnt="0"/>
      <dgm:spPr/>
    </dgm:pt>
    <dgm:pt modelId="{34188366-009A-4265-9319-288F146065BB}" type="pres">
      <dgm:prSet presAssocID="{0E9E549F-3920-46C6-B0D2-FDB3687AB785}" presName="hierChild4" presStyleCnt="0"/>
      <dgm:spPr/>
    </dgm:pt>
    <dgm:pt modelId="{E570DCCE-18F5-4E59-B6A4-6A51F09F8AEF}" type="pres">
      <dgm:prSet presAssocID="{9B01DA8A-30EA-446A-8B52-A1E82958BAF0}" presName="Name28" presStyleLbl="parChTrans1D4" presStyleIdx="7" presStyleCnt="27"/>
      <dgm:spPr/>
    </dgm:pt>
    <dgm:pt modelId="{E673D1FE-6136-4194-AF0A-99DC817608F1}" type="pres">
      <dgm:prSet presAssocID="{970CBA58-F71B-4323-8F57-6F985B3D4DBC}" presName="hierRoot2" presStyleCnt="0">
        <dgm:presLayoutVars>
          <dgm:hierBranch val="init"/>
        </dgm:presLayoutVars>
      </dgm:prSet>
      <dgm:spPr/>
    </dgm:pt>
    <dgm:pt modelId="{1BBE9A92-6F1C-4836-A09A-5CC2C61DAF8D}" type="pres">
      <dgm:prSet presAssocID="{970CBA58-F71B-4323-8F57-6F985B3D4DBC}" presName="rootComposite2" presStyleCnt="0"/>
      <dgm:spPr/>
    </dgm:pt>
    <dgm:pt modelId="{8BCBEB7F-11B8-4EE8-A527-6CBCE70CB7F1}" type="pres">
      <dgm:prSet presAssocID="{970CBA58-F71B-4323-8F57-6F985B3D4DBC}" presName="rootText2" presStyleLbl="alignAcc1" presStyleIdx="0" presStyleCnt="0">
        <dgm:presLayoutVars>
          <dgm:chPref val="3"/>
        </dgm:presLayoutVars>
      </dgm:prSet>
      <dgm:spPr/>
    </dgm:pt>
    <dgm:pt modelId="{C7E8D8A4-4CAD-49E0-98B5-12FE39DFEDCE}" type="pres">
      <dgm:prSet presAssocID="{970CBA58-F71B-4323-8F57-6F985B3D4DBC}" presName="topArc2" presStyleLbl="parChTrans1D1" presStyleIdx="24" presStyleCnt="64"/>
      <dgm:spPr/>
    </dgm:pt>
    <dgm:pt modelId="{78B325F8-571A-43CD-9B99-8EA7C3CD5EF6}" type="pres">
      <dgm:prSet presAssocID="{970CBA58-F71B-4323-8F57-6F985B3D4DBC}" presName="bottomArc2" presStyleLbl="parChTrans1D1" presStyleIdx="25" presStyleCnt="64"/>
      <dgm:spPr/>
    </dgm:pt>
    <dgm:pt modelId="{EBAA3094-1216-4988-91CC-B7C1967185AC}" type="pres">
      <dgm:prSet presAssocID="{970CBA58-F71B-4323-8F57-6F985B3D4DBC}" presName="topConnNode2" presStyleLbl="node4" presStyleIdx="0" presStyleCnt="0"/>
      <dgm:spPr/>
    </dgm:pt>
    <dgm:pt modelId="{CE23B626-6CA5-4E08-9C2D-525594824ACF}" type="pres">
      <dgm:prSet presAssocID="{970CBA58-F71B-4323-8F57-6F985B3D4DBC}" presName="hierChild4" presStyleCnt="0"/>
      <dgm:spPr/>
    </dgm:pt>
    <dgm:pt modelId="{DC7582A2-39BF-493E-9BFF-F53246C95CD5}" type="pres">
      <dgm:prSet presAssocID="{970CBA58-F71B-4323-8F57-6F985B3D4DBC}" presName="hierChild5" presStyleCnt="0"/>
      <dgm:spPr/>
    </dgm:pt>
    <dgm:pt modelId="{8EDD9516-EBED-46A4-80AD-96B95706D9AE}" type="pres">
      <dgm:prSet presAssocID="{134E3AB4-E989-4C61-87D7-C05C697B52CD}" presName="Name28" presStyleLbl="parChTrans1D4" presStyleIdx="8" presStyleCnt="27"/>
      <dgm:spPr/>
    </dgm:pt>
    <dgm:pt modelId="{7332369D-1EED-4874-9FD2-1BF38F7A869C}" type="pres">
      <dgm:prSet presAssocID="{351ABB51-0927-4AFD-A19F-8F1A59A16699}" presName="hierRoot2" presStyleCnt="0">
        <dgm:presLayoutVars>
          <dgm:hierBranch val="init"/>
        </dgm:presLayoutVars>
      </dgm:prSet>
      <dgm:spPr/>
    </dgm:pt>
    <dgm:pt modelId="{E326D2C7-BBEC-46C5-A0E1-3B7C529F5AFB}" type="pres">
      <dgm:prSet presAssocID="{351ABB51-0927-4AFD-A19F-8F1A59A16699}" presName="rootComposite2" presStyleCnt="0"/>
      <dgm:spPr/>
    </dgm:pt>
    <dgm:pt modelId="{BF8153EE-DFD2-4CB9-9A36-36158312123E}" type="pres">
      <dgm:prSet presAssocID="{351ABB51-0927-4AFD-A19F-8F1A59A16699}" presName="rootText2" presStyleLbl="alignAcc1" presStyleIdx="0" presStyleCnt="0">
        <dgm:presLayoutVars>
          <dgm:chPref val="3"/>
        </dgm:presLayoutVars>
      </dgm:prSet>
      <dgm:spPr/>
    </dgm:pt>
    <dgm:pt modelId="{EE39BE0D-4566-4AD0-9527-7ADA09B07E1D}" type="pres">
      <dgm:prSet presAssocID="{351ABB51-0927-4AFD-A19F-8F1A59A16699}" presName="topArc2" presStyleLbl="parChTrans1D1" presStyleIdx="26" presStyleCnt="64"/>
      <dgm:spPr/>
    </dgm:pt>
    <dgm:pt modelId="{2F63627B-8A37-4CC6-A37A-10F308791174}" type="pres">
      <dgm:prSet presAssocID="{351ABB51-0927-4AFD-A19F-8F1A59A16699}" presName="bottomArc2" presStyleLbl="parChTrans1D1" presStyleIdx="27" presStyleCnt="64"/>
      <dgm:spPr/>
    </dgm:pt>
    <dgm:pt modelId="{4DB59FC2-AA07-4326-A2F5-C2521347B338}" type="pres">
      <dgm:prSet presAssocID="{351ABB51-0927-4AFD-A19F-8F1A59A16699}" presName="topConnNode2" presStyleLbl="node4" presStyleIdx="0" presStyleCnt="0"/>
      <dgm:spPr/>
    </dgm:pt>
    <dgm:pt modelId="{DF476522-CB26-47F7-A715-BE7FA8A82C0E}" type="pres">
      <dgm:prSet presAssocID="{351ABB51-0927-4AFD-A19F-8F1A59A16699}" presName="hierChild4" presStyleCnt="0"/>
      <dgm:spPr/>
    </dgm:pt>
    <dgm:pt modelId="{5C475AB6-E77F-42C4-9901-DA2BE3FA4B67}" type="pres">
      <dgm:prSet presAssocID="{351ABB51-0927-4AFD-A19F-8F1A59A16699}" presName="hierChild5" presStyleCnt="0"/>
      <dgm:spPr/>
    </dgm:pt>
    <dgm:pt modelId="{4E87B809-AC04-44FD-B694-A80CE2E51329}" type="pres">
      <dgm:prSet presAssocID="{0E9E549F-3920-46C6-B0D2-FDB3687AB785}" presName="hierChild5" presStyleCnt="0"/>
      <dgm:spPr/>
    </dgm:pt>
    <dgm:pt modelId="{5D21C66E-0B15-4380-B80A-0A180A595C14}" type="pres">
      <dgm:prSet presAssocID="{E6233824-91A3-417E-A6A8-8B20DE76D326}" presName="hierChild5" presStyleCnt="0"/>
      <dgm:spPr/>
    </dgm:pt>
    <dgm:pt modelId="{979C3233-178F-4ACC-9636-14947F1AE682}" type="pres">
      <dgm:prSet presAssocID="{96073AD0-F498-4ECD-9088-904628E1CCA7}" presName="hierChild5" presStyleCnt="0"/>
      <dgm:spPr/>
    </dgm:pt>
    <dgm:pt modelId="{0D98BF24-5715-49C4-8290-AB990788E6FE}" type="pres">
      <dgm:prSet presAssocID="{AE0949AF-1989-4CBC-9F27-9FC8CF2D0001}" presName="hierChild5" presStyleCnt="0"/>
      <dgm:spPr/>
    </dgm:pt>
    <dgm:pt modelId="{C712E6BC-7FD1-4055-AE05-0AC0879727E8}" type="pres">
      <dgm:prSet presAssocID="{348DA9B9-AC23-4A9B-AB78-31A4E069158C}" presName="Name28" presStyleLbl="parChTrans1D4" presStyleIdx="9" presStyleCnt="27"/>
      <dgm:spPr/>
    </dgm:pt>
    <dgm:pt modelId="{F58A52D6-8E7C-4BF1-8882-E51CB7395A2A}" type="pres">
      <dgm:prSet presAssocID="{F0E9D375-F7C9-407B-AD89-512D11C0FE6A}" presName="hierRoot2" presStyleCnt="0">
        <dgm:presLayoutVars>
          <dgm:hierBranch val="init"/>
        </dgm:presLayoutVars>
      </dgm:prSet>
      <dgm:spPr/>
    </dgm:pt>
    <dgm:pt modelId="{0ACEF32B-13AF-4BDF-8113-9D7E91DF7C1A}" type="pres">
      <dgm:prSet presAssocID="{F0E9D375-F7C9-407B-AD89-512D11C0FE6A}" presName="rootComposite2" presStyleCnt="0"/>
      <dgm:spPr/>
    </dgm:pt>
    <dgm:pt modelId="{2FC54A92-3CB6-4D19-A279-E79D2406BF14}" type="pres">
      <dgm:prSet presAssocID="{F0E9D375-F7C9-407B-AD89-512D11C0FE6A}" presName="rootText2" presStyleLbl="alignAcc1" presStyleIdx="0" presStyleCnt="0">
        <dgm:presLayoutVars>
          <dgm:chPref val="3"/>
        </dgm:presLayoutVars>
      </dgm:prSet>
      <dgm:spPr/>
    </dgm:pt>
    <dgm:pt modelId="{525C6E27-AF84-4633-8872-072CFDBB43B2}" type="pres">
      <dgm:prSet presAssocID="{F0E9D375-F7C9-407B-AD89-512D11C0FE6A}" presName="topArc2" presStyleLbl="parChTrans1D1" presStyleIdx="28" presStyleCnt="64"/>
      <dgm:spPr/>
    </dgm:pt>
    <dgm:pt modelId="{9FF3029D-223B-4087-A7C4-CA639E343A64}" type="pres">
      <dgm:prSet presAssocID="{F0E9D375-F7C9-407B-AD89-512D11C0FE6A}" presName="bottomArc2" presStyleLbl="parChTrans1D1" presStyleIdx="29" presStyleCnt="64"/>
      <dgm:spPr/>
    </dgm:pt>
    <dgm:pt modelId="{0D42ECD9-A595-4898-8026-9EAE720CAF3E}" type="pres">
      <dgm:prSet presAssocID="{F0E9D375-F7C9-407B-AD89-512D11C0FE6A}" presName="topConnNode2" presStyleLbl="node4" presStyleIdx="0" presStyleCnt="0"/>
      <dgm:spPr/>
    </dgm:pt>
    <dgm:pt modelId="{1F6F7E61-EE07-4B8B-AABC-785FDB6D6641}" type="pres">
      <dgm:prSet presAssocID="{F0E9D375-F7C9-407B-AD89-512D11C0FE6A}" presName="hierChild4" presStyleCnt="0"/>
      <dgm:spPr/>
    </dgm:pt>
    <dgm:pt modelId="{9AB4BD83-2B46-4B45-9AB7-E2D549D0A7FF}" type="pres">
      <dgm:prSet presAssocID="{A1291A85-1955-4C27-8F53-A0FFFC5BA2CB}" presName="Name28" presStyleLbl="parChTrans1D4" presStyleIdx="10" presStyleCnt="27"/>
      <dgm:spPr/>
    </dgm:pt>
    <dgm:pt modelId="{588A3B2D-84FF-4769-BDB6-F1A6777BAFD4}" type="pres">
      <dgm:prSet presAssocID="{4A11916B-BC94-4DFF-B2B6-B5149AAAC5C6}" presName="hierRoot2" presStyleCnt="0">
        <dgm:presLayoutVars>
          <dgm:hierBranch val="init"/>
        </dgm:presLayoutVars>
      </dgm:prSet>
      <dgm:spPr/>
    </dgm:pt>
    <dgm:pt modelId="{940584E2-12AD-48DD-9F41-5B45C21D7DF6}" type="pres">
      <dgm:prSet presAssocID="{4A11916B-BC94-4DFF-B2B6-B5149AAAC5C6}" presName="rootComposite2" presStyleCnt="0"/>
      <dgm:spPr/>
    </dgm:pt>
    <dgm:pt modelId="{52D3982B-23BC-40E8-AECE-595D7184167E}" type="pres">
      <dgm:prSet presAssocID="{4A11916B-BC94-4DFF-B2B6-B5149AAAC5C6}" presName="rootText2" presStyleLbl="alignAcc1" presStyleIdx="0" presStyleCnt="0">
        <dgm:presLayoutVars>
          <dgm:chPref val="3"/>
        </dgm:presLayoutVars>
      </dgm:prSet>
      <dgm:spPr/>
    </dgm:pt>
    <dgm:pt modelId="{10E64542-779D-4FF5-A485-76BD09B0725F}" type="pres">
      <dgm:prSet presAssocID="{4A11916B-BC94-4DFF-B2B6-B5149AAAC5C6}" presName="topArc2" presStyleLbl="parChTrans1D1" presStyleIdx="30" presStyleCnt="64"/>
      <dgm:spPr/>
    </dgm:pt>
    <dgm:pt modelId="{F0AB33CB-C9FD-439C-B6B0-0691554E50A8}" type="pres">
      <dgm:prSet presAssocID="{4A11916B-BC94-4DFF-B2B6-B5149AAAC5C6}" presName="bottomArc2" presStyleLbl="parChTrans1D1" presStyleIdx="31" presStyleCnt="64"/>
      <dgm:spPr/>
    </dgm:pt>
    <dgm:pt modelId="{24DCF011-5A01-49CF-B2E3-1D7216BD93D0}" type="pres">
      <dgm:prSet presAssocID="{4A11916B-BC94-4DFF-B2B6-B5149AAAC5C6}" presName="topConnNode2" presStyleLbl="node4" presStyleIdx="0" presStyleCnt="0"/>
      <dgm:spPr/>
    </dgm:pt>
    <dgm:pt modelId="{2869211E-BF2B-48DD-BF1E-218FA3254796}" type="pres">
      <dgm:prSet presAssocID="{4A11916B-BC94-4DFF-B2B6-B5149AAAC5C6}" presName="hierChild4" presStyleCnt="0"/>
      <dgm:spPr/>
    </dgm:pt>
    <dgm:pt modelId="{F2A9CA56-9BE3-4F5C-8A86-660431EC7BFB}" type="pres">
      <dgm:prSet presAssocID="{44D790B3-B887-4EB7-A2A8-6FAD40683AD9}" presName="Name28" presStyleLbl="parChTrans1D4" presStyleIdx="11" presStyleCnt="27"/>
      <dgm:spPr/>
    </dgm:pt>
    <dgm:pt modelId="{7B4C11B8-6FC2-4948-A0E9-06777B45CE71}" type="pres">
      <dgm:prSet presAssocID="{A04C7B5D-C77B-4517-94E3-E33F9C2BB6E5}" presName="hierRoot2" presStyleCnt="0">
        <dgm:presLayoutVars>
          <dgm:hierBranch val="init"/>
        </dgm:presLayoutVars>
      </dgm:prSet>
      <dgm:spPr/>
    </dgm:pt>
    <dgm:pt modelId="{5B91739F-34EA-4022-956D-2EF0E21548BF}" type="pres">
      <dgm:prSet presAssocID="{A04C7B5D-C77B-4517-94E3-E33F9C2BB6E5}" presName="rootComposite2" presStyleCnt="0"/>
      <dgm:spPr/>
    </dgm:pt>
    <dgm:pt modelId="{3A6713B7-CB0B-49C4-934C-2E09F172A298}" type="pres">
      <dgm:prSet presAssocID="{A04C7B5D-C77B-4517-94E3-E33F9C2BB6E5}" presName="rootText2" presStyleLbl="alignAcc1" presStyleIdx="0" presStyleCnt="0">
        <dgm:presLayoutVars>
          <dgm:chPref val="3"/>
        </dgm:presLayoutVars>
      </dgm:prSet>
      <dgm:spPr/>
    </dgm:pt>
    <dgm:pt modelId="{591D2FBF-DA54-46AC-9411-0B403AF17451}" type="pres">
      <dgm:prSet presAssocID="{A04C7B5D-C77B-4517-94E3-E33F9C2BB6E5}" presName="topArc2" presStyleLbl="parChTrans1D1" presStyleIdx="32" presStyleCnt="64"/>
      <dgm:spPr/>
    </dgm:pt>
    <dgm:pt modelId="{E4845FAF-DE0D-4548-96F5-1357BB1EFDBE}" type="pres">
      <dgm:prSet presAssocID="{A04C7B5D-C77B-4517-94E3-E33F9C2BB6E5}" presName="bottomArc2" presStyleLbl="parChTrans1D1" presStyleIdx="33" presStyleCnt="64"/>
      <dgm:spPr/>
    </dgm:pt>
    <dgm:pt modelId="{6ACA419B-CBB4-4DE8-A9FA-B8967046DAAE}" type="pres">
      <dgm:prSet presAssocID="{A04C7B5D-C77B-4517-94E3-E33F9C2BB6E5}" presName="topConnNode2" presStyleLbl="node4" presStyleIdx="0" presStyleCnt="0"/>
      <dgm:spPr/>
    </dgm:pt>
    <dgm:pt modelId="{93B08A93-CFCF-41B9-8836-2B840B302180}" type="pres">
      <dgm:prSet presAssocID="{A04C7B5D-C77B-4517-94E3-E33F9C2BB6E5}" presName="hierChild4" presStyleCnt="0"/>
      <dgm:spPr/>
    </dgm:pt>
    <dgm:pt modelId="{77DBFBFA-DF28-4248-9A68-259019C457E9}" type="pres">
      <dgm:prSet presAssocID="{A04C7B5D-C77B-4517-94E3-E33F9C2BB6E5}" presName="hierChild5" presStyleCnt="0"/>
      <dgm:spPr/>
    </dgm:pt>
    <dgm:pt modelId="{523DB91B-4C90-42D1-B6A1-DF8BA9A099B8}" type="pres">
      <dgm:prSet presAssocID="{4A11916B-BC94-4DFF-B2B6-B5149AAAC5C6}" presName="hierChild5" presStyleCnt="0"/>
      <dgm:spPr/>
    </dgm:pt>
    <dgm:pt modelId="{398D666C-D165-424F-857D-EB00C29DC10D}" type="pres">
      <dgm:prSet presAssocID="{F0E9D375-F7C9-407B-AD89-512D11C0FE6A}" presName="hierChild5" presStyleCnt="0"/>
      <dgm:spPr/>
    </dgm:pt>
    <dgm:pt modelId="{FD214354-1BC9-4E20-A62B-52234808F0CA}" type="pres">
      <dgm:prSet presAssocID="{CFA655EF-9041-4402-9A88-B1B797155263}" presName="Name28" presStyleLbl="parChTrans1D4" presStyleIdx="12" presStyleCnt="27"/>
      <dgm:spPr/>
    </dgm:pt>
    <dgm:pt modelId="{EE0FA60F-E371-4915-BD22-DA9EC9159D83}" type="pres">
      <dgm:prSet presAssocID="{DEA372BF-90AE-4A9A-B7ED-5FF7064ABE0A}" presName="hierRoot2" presStyleCnt="0">
        <dgm:presLayoutVars>
          <dgm:hierBranch val="init"/>
        </dgm:presLayoutVars>
      </dgm:prSet>
      <dgm:spPr/>
    </dgm:pt>
    <dgm:pt modelId="{DA8326F1-8803-4EF4-A95A-094AD4FE8B0A}" type="pres">
      <dgm:prSet presAssocID="{DEA372BF-90AE-4A9A-B7ED-5FF7064ABE0A}" presName="rootComposite2" presStyleCnt="0"/>
      <dgm:spPr/>
    </dgm:pt>
    <dgm:pt modelId="{9231C2BC-874C-41E8-BD87-5B90C2B9D84D}" type="pres">
      <dgm:prSet presAssocID="{DEA372BF-90AE-4A9A-B7ED-5FF7064ABE0A}" presName="rootText2" presStyleLbl="alignAcc1" presStyleIdx="0" presStyleCnt="0">
        <dgm:presLayoutVars>
          <dgm:chPref val="3"/>
        </dgm:presLayoutVars>
      </dgm:prSet>
      <dgm:spPr/>
    </dgm:pt>
    <dgm:pt modelId="{708BEEC2-6CF7-4B9E-A4D1-A11A2958B523}" type="pres">
      <dgm:prSet presAssocID="{DEA372BF-90AE-4A9A-B7ED-5FF7064ABE0A}" presName="topArc2" presStyleLbl="parChTrans1D1" presStyleIdx="34" presStyleCnt="64"/>
      <dgm:spPr/>
    </dgm:pt>
    <dgm:pt modelId="{71827426-8340-4F5C-9E21-B0B3D7767106}" type="pres">
      <dgm:prSet presAssocID="{DEA372BF-90AE-4A9A-B7ED-5FF7064ABE0A}" presName="bottomArc2" presStyleLbl="parChTrans1D1" presStyleIdx="35" presStyleCnt="64"/>
      <dgm:spPr/>
    </dgm:pt>
    <dgm:pt modelId="{665FACE5-2B6C-4483-BDE1-6EB05AD77414}" type="pres">
      <dgm:prSet presAssocID="{DEA372BF-90AE-4A9A-B7ED-5FF7064ABE0A}" presName="topConnNode2" presStyleLbl="node4" presStyleIdx="0" presStyleCnt="0"/>
      <dgm:spPr/>
    </dgm:pt>
    <dgm:pt modelId="{3854D6E0-E915-45F3-AE46-AA3B7CC540EE}" type="pres">
      <dgm:prSet presAssocID="{DEA372BF-90AE-4A9A-B7ED-5FF7064ABE0A}" presName="hierChild4" presStyleCnt="0"/>
      <dgm:spPr/>
    </dgm:pt>
    <dgm:pt modelId="{6186A9D5-410A-4DE6-A343-D6D0002C1991}" type="pres">
      <dgm:prSet presAssocID="{331F1E10-D53E-4EB9-B52D-4E0FABE798D4}" presName="Name28" presStyleLbl="parChTrans1D4" presStyleIdx="13" presStyleCnt="27"/>
      <dgm:spPr/>
    </dgm:pt>
    <dgm:pt modelId="{57A9B87B-FD01-4A16-842E-5E612C2C61CD}" type="pres">
      <dgm:prSet presAssocID="{4733D933-C168-44F6-9B8F-448707F3DD67}" presName="hierRoot2" presStyleCnt="0">
        <dgm:presLayoutVars>
          <dgm:hierBranch val="init"/>
        </dgm:presLayoutVars>
      </dgm:prSet>
      <dgm:spPr/>
    </dgm:pt>
    <dgm:pt modelId="{60F1A775-FA46-4884-BAB9-AC95CC23DD34}" type="pres">
      <dgm:prSet presAssocID="{4733D933-C168-44F6-9B8F-448707F3DD67}" presName="rootComposite2" presStyleCnt="0"/>
      <dgm:spPr/>
    </dgm:pt>
    <dgm:pt modelId="{95F8405C-2E41-4960-9C76-1165569BC6D5}" type="pres">
      <dgm:prSet presAssocID="{4733D933-C168-44F6-9B8F-448707F3DD67}" presName="rootText2" presStyleLbl="alignAcc1" presStyleIdx="0" presStyleCnt="0">
        <dgm:presLayoutVars>
          <dgm:chPref val="3"/>
        </dgm:presLayoutVars>
      </dgm:prSet>
      <dgm:spPr/>
    </dgm:pt>
    <dgm:pt modelId="{B1844273-23FE-4469-A5EC-D67929035DC2}" type="pres">
      <dgm:prSet presAssocID="{4733D933-C168-44F6-9B8F-448707F3DD67}" presName="topArc2" presStyleLbl="parChTrans1D1" presStyleIdx="36" presStyleCnt="64"/>
      <dgm:spPr/>
    </dgm:pt>
    <dgm:pt modelId="{2745D407-E32D-4A4C-B988-5AC1C72A1B28}" type="pres">
      <dgm:prSet presAssocID="{4733D933-C168-44F6-9B8F-448707F3DD67}" presName="bottomArc2" presStyleLbl="parChTrans1D1" presStyleIdx="37" presStyleCnt="64"/>
      <dgm:spPr/>
    </dgm:pt>
    <dgm:pt modelId="{58B5BB20-10E5-4089-AE39-42414F512D71}" type="pres">
      <dgm:prSet presAssocID="{4733D933-C168-44F6-9B8F-448707F3DD67}" presName="topConnNode2" presStyleLbl="node4" presStyleIdx="0" presStyleCnt="0"/>
      <dgm:spPr/>
    </dgm:pt>
    <dgm:pt modelId="{672307A6-4EC7-47DC-98D3-FDEB4FD43184}" type="pres">
      <dgm:prSet presAssocID="{4733D933-C168-44F6-9B8F-448707F3DD67}" presName="hierChild4" presStyleCnt="0"/>
      <dgm:spPr/>
    </dgm:pt>
    <dgm:pt modelId="{5BA24B62-E03B-429F-82AE-7DA7814BB6D4}" type="pres">
      <dgm:prSet presAssocID="{82F4F6E3-EF73-473E-9645-9C1B0D9BA76A}" presName="Name28" presStyleLbl="parChTrans1D4" presStyleIdx="14" presStyleCnt="27"/>
      <dgm:spPr/>
    </dgm:pt>
    <dgm:pt modelId="{E152A645-76B2-4D01-9E1A-8B4469A46165}" type="pres">
      <dgm:prSet presAssocID="{6C5031C0-CCFF-4B1B-85BE-DC1EBF4FB273}" presName="hierRoot2" presStyleCnt="0">
        <dgm:presLayoutVars>
          <dgm:hierBranch val="init"/>
        </dgm:presLayoutVars>
      </dgm:prSet>
      <dgm:spPr/>
    </dgm:pt>
    <dgm:pt modelId="{4B4BAB5E-D720-4E0D-B0B2-F08F584C9898}" type="pres">
      <dgm:prSet presAssocID="{6C5031C0-CCFF-4B1B-85BE-DC1EBF4FB273}" presName="rootComposite2" presStyleCnt="0"/>
      <dgm:spPr/>
    </dgm:pt>
    <dgm:pt modelId="{D4945396-EB6B-4209-9A69-F8565939B00A}" type="pres">
      <dgm:prSet presAssocID="{6C5031C0-CCFF-4B1B-85BE-DC1EBF4FB273}" presName="rootText2" presStyleLbl="alignAcc1" presStyleIdx="0" presStyleCnt="0">
        <dgm:presLayoutVars>
          <dgm:chPref val="3"/>
        </dgm:presLayoutVars>
      </dgm:prSet>
      <dgm:spPr/>
    </dgm:pt>
    <dgm:pt modelId="{55E5BA2D-E2B2-497F-BA4F-B331E30D2CEA}" type="pres">
      <dgm:prSet presAssocID="{6C5031C0-CCFF-4B1B-85BE-DC1EBF4FB273}" presName="topArc2" presStyleLbl="parChTrans1D1" presStyleIdx="38" presStyleCnt="64"/>
      <dgm:spPr/>
    </dgm:pt>
    <dgm:pt modelId="{46254195-86C9-4258-B722-05726242C32F}" type="pres">
      <dgm:prSet presAssocID="{6C5031C0-CCFF-4B1B-85BE-DC1EBF4FB273}" presName="bottomArc2" presStyleLbl="parChTrans1D1" presStyleIdx="39" presStyleCnt="64"/>
      <dgm:spPr/>
    </dgm:pt>
    <dgm:pt modelId="{70CC310C-493A-462C-95BD-B6B299164F24}" type="pres">
      <dgm:prSet presAssocID="{6C5031C0-CCFF-4B1B-85BE-DC1EBF4FB273}" presName="topConnNode2" presStyleLbl="node4" presStyleIdx="0" presStyleCnt="0"/>
      <dgm:spPr/>
    </dgm:pt>
    <dgm:pt modelId="{9C8FA885-0F2B-4E67-8035-4A43063BF6FC}" type="pres">
      <dgm:prSet presAssocID="{6C5031C0-CCFF-4B1B-85BE-DC1EBF4FB273}" presName="hierChild4" presStyleCnt="0"/>
      <dgm:spPr/>
    </dgm:pt>
    <dgm:pt modelId="{92A89F87-A469-4D7F-9617-E59D389D706E}" type="pres">
      <dgm:prSet presAssocID="{6C5031C0-CCFF-4B1B-85BE-DC1EBF4FB273}" presName="hierChild5" presStyleCnt="0"/>
      <dgm:spPr/>
    </dgm:pt>
    <dgm:pt modelId="{ABF46260-6774-459C-BA58-ECA0381146FF}" type="pres">
      <dgm:prSet presAssocID="{1CC55151-ACFF-4B1D-96EC-F2B70F4FDA62}" presName="Name28" presStyleLbl="parChTrans1D4" presStyleIdx="15" presStyleCnt="27"/>
      <dgm:spPr/>
    </dgm:pt>
    <dgm:pt modelId="{1FD2FFA7-75B5-4936-88AF-29FFF79B1271}" type="pres">
      <dgm:prSet presAssocID="{1B5CD4A5-A51F-43F9-855C-EE417254748B}" presName="hierRoot2" presStyleCnt="0">
        <dgm:presLayoutVars>
          <dgm:hierBranch val="init"/>
        </dgm:presLayoutVars>
      </dgm:prSet>
      <dgm:spPr/>
    </dgm:pt>
    <dgm:pt modelId="{8077C5FA-3C3B-4C4B-ACFD-55E7B1151379}" type="pres">
      <dgm:prSet presAssocID="{1B5CD4A5-A51F-43F9-855C-EE417254748B}" presName="rootComposite2" presStyleCnt="0"/>
      <dgm:spPr/>
    </dgm:pt>
    <dgm:pt modelId="{B2A1CC7A-EE46-4477-AD3B-7CC8BC3BB483}" type="pres">
      <dgm:prSet presAssocID="{1B5CD4A5-A51F-43F9-855C-EE417254748B}" presName="rootText2" presStyleLbl="alignAcc1" presStyleIdx="0" presStyleCnt="0">
        <dgm:presLayoutVars>
          <dgm:chPref val="3"/>
        </dgm:presLayoutVars>
      </dgm:prSet>
      <dgm:spPr/>
    </dgm:pt>
    <dgm:pt modelId="{F1ABC4E1-497B-4A2E-A8AB-1714513E6DC1}" type="pres">
      <dgm:prSet presAssocID="{1B5CD4A5-A51F-43F9-855C-EE417254748B}" presName="topArc2" presStyleLbl="parChTrans1D1" presStyleIdx="40" presStyleCnt="64"/>
      <dgm:spPr/>
    </dgm:pt>
    <dgm:pt modelId="{1D73B9D7-F2CC-426A-A391-B3DB3382EEE6}" type="pres">
      <dgm:prSet presAssocID="{1B5CD4A5-A51F-43F9-855C-EE417254748B}" presName="bottomArc2" presStyleLbl="parChTrans1D1" presStyleIdx="41" presStyleCnt="64"/>
      <dgm:spPr/>
    </dgm:pt>
    <dgm:pt modelId="{BEF9CCC5-6F8B-411F-9473-A099503D76A5}" type="pres">
      <dgm:prSet presAssocID="{1B5CD4A5-A51F-43F9-855C-EE417254748B}" presName="topConnNode2" presStyleLbl="node4" presStyleIdx="0" presStyleCnt="0"/>
      <dgm:spPr/>
    </dgm:pt>
    <dgm:pt modelId="{06F9AFA3-50F0-4336-BB74-175BB9C49425}" type="pres">
      <dgm:prSet presAssocID="{1B5CD4A5-A51F-43F9-855C-EE417254748B}" presName="hierChild4" presStyleCnt="0"/>
      <dgm:spPr/>
    </dgm:pt>
    <dgm:pt modelId="{C1D977B9-7B26-48CE-8B35-2EA3989E5D83}" type="pres">
      <dgm:prSet presAssocID="{1B5CD4A5-A51F-43F9-855C-EE417254748B}" presName="hierChild5" presStyleCnt="0"/>
      <dgm:spPr/>
    </dgm:pt>
    <dgm:pt modelId="{BCBCC5A4-2E2A-4EA6-8873-A47D9118191E}" type="pres">
      <dgm:prSet presAssocID="{4733D933-C168-44F6-9B8F-448707F3DD67}" presName="hierChild5" presStyleCnt="0"/>
      <dgm:spPr/>
    </dgm:pt>
    <dgm:pt modelId="{DF87D862-2780-4509-BBC7-4D16DEDD4C87}" type="pres">
      <dgm:prSet presAssocID="{60F1E342-2A58-4DBD-83F8-180785611606}" presName="Name28" presStyleLbl="parChTrans1D4" presStyleIdx="16" presStyleCnt="27"/>
      <dgm:spPr/>
    </dgm:pt>
    <dgm:pt modelId="{49A4E2F6-AAA5-4836-B8E2-828A7C5B9598}" type="pres">
      <dgm:prSet presAssocID="{57D50F85-5066-4F2D-AEEA-7C812078D07A}" presName="hierRoot2" presStyleCnt="0">
        <dgm:presLayoutVars>
          <dgm:hierBranch val="init"/>
        </dgm:presLayoutVars>
      </dgm:prSet>
      <dgm:spPr/>
    </dgm:pt>
    <dgm:pt modelId="{C50CAD60-2DFA-47A9-8CF6-14C767EBBD1B}" type="pres">
      <dgm:prSet presAssocID="{57D50F85-5066-4F2D-AEEA-7C812078D07A}" presName="rootComposite2" presStyleCnt="0"/>
      <dgm:spPr/>
    </dgm:pt>
    <dgm:pt modelId="{90BB7528-CBD4-4F63-A658-B7B4111947AE}" type="pres">
      <dgm:prSet presAssocID="{57D50F85-5066-4F2D-AEEA-7C812078D07A}" presName="rootText2" presStyleLbl="alignAcc1" presStyleIdx="0" presStyleCnt="0">
        <dgm:presLayoutVars>
          <dgm:chPref val="3"/>
        </dgm:presLayoutVars>
      </dgm:prSet>
      <dgm:spPr/>
    </dgm:pt>
    <dgm:pt modelId="{4E8CA305-BDB4-46B0-9D5B-ECC72D3E0198}" type="pres">
      <dgm:prSet presAssocID="{57D50F85-5066-4F2D-AEEA-7C812078D07A}" presName="topArc2" presStyleLbl="parChTrans1D1" presStyleIdx="42" presStyleCnt="64"/>
      <dgm:spPr/>
    </dgm:pt>
    <dgm:pt modelId="{EF5ADA26-A8D6-4B6B-A8C0-E18F082C93F7}" type="pres">
      <dgm:prSet presAssocID="{57D50F85-5066-4F2D-AEEA-7C812078D07A}" presName="bottomArc2" presStyleLbl="parChTrans1D1" presStyleIdx="43" presStyleCnt="64"/>
      <dgm:spPr/>
    </dgm:pt>
    <dgm:pt modelId="{3406C6FA-3CF8-43DA-96A0-DFCC062E5617}" type="pres">
      <dgm:prSet presAssocID="{57D50F85-5066-4F2D-AEEA-7C812078D07A}" presName="topConnNode2" presStyleLbl="node4" presStyleIdx="0" presStyleCnt="0"/>
      <dgm:spPr/>
    </dgm:pt>
    <dgm:pt modelId="{CC8D457A-C658-4639-9D7F-D0843CB9FC02}" type="pres">
      <dgm:prSet presAssocID="{57D50F85-5066-4F2D-AEEA-7C812078D07A}" presName="hierChild4" presStyleCnt="0"/>
      <dgm:spPr/>
    </dgm:pt>
    <dgm:pt modelId="{26D1617F-9673-4CF2-86B7-0303D89EDB58}" type="pres">
      <dgm:prSet presAssocID="{19FF012F-CB9D-400E-81FB-CEA5D54F18CA}" presName="Name28" presStyleLbl="parChTrans1D4" presStyleIdx="17" presStyleCnt="27"/>
      <dgm:spPr/>
    </dgm:pt>
    <dgm:pt modelId="{3BF75EE8-ABB8-4176-B6AD-1D045492DFC3}" type="pres">
      <dgm:prSet presAssocID="{47A86A1A-E0DD-4CAA-AEB1-464123E9AE35}" presName="hierRoot2" presStyleCnt="0">
        <dgm:presLayoutVars>
          <dgm:hierBranch val="init"/>
        </dgm:presLayoutVars>
      </dgm:prSet>
      <dgm:spPr/>
    </dgm:pt>
    <dgm:pt modelId="{FB9DD094-707B-4515-BBD8-F80134D4612A}" type="pres">
      <dgm:prSet presAssocID="{47A86A1A-E0DD-4CAA-AEB1-464123E9AE35}" presName="rootComposite2" presStyleCnt="0"/>
      <dgm:spPr/>
    </dgm:pt>
    <dgm:pt modelId="{32B18196-30B6-43C1-9EB1-3D50E4D7D9E5}" type="pres">
      <dgm:prSet presAssocID="{47A86A1A-E0DD-4CAA-AEB1-464123E9AE35}" presName="rootText2" presStyleLbl="alignAcc1" presStyleIdx="0" presStyleCnt="0">
        <dgm:presLayoutVars>
          <dgm:chPref val="3"/>
        </dgm:presLayoutVars>
      </dgm:prSet>
      <dgm:spPr/>
    </dgm:pt>
    <dgm:pt modelId="{7D080EC5-E569-4813-BDFB-65BCE7D9AA11}" type="pres">
      <dgm:prSet presAssocID="{47A86A1A-E0DD-4CAA-AEB1-464123E9AE35}" presName="topArc2" presStyleLbl="parChTrans1D1" presStyleIdx="44" presStyleCnt="64"/>
      <dgm:spPr/>
    </dgm:pt>
    <dgm:pt modelId="{6B61147C-74D2-4E05-9447-9600D87F29D0}" type="pres">
      <dgm:prSet presAssocID="{47A86A1A-E0DD-4CAA-AEB1-464123E9AE35}" presName="bottomArc2" presStyleLbl="parChTrans1D1" presStyleIdx="45" presStyleCnt="64"/>
      <dgm:spPr/>
    </dgm:pt>
    <dgm:pt modelId="{72753544-0646-4F65-9073-B32C75F5F752}" type="pres">
      <dgm:prSet presAssocID="{47A86A1A-E0DD-4CAA-AEB1-464123E9AE35}" presName="topConnNode2" presStyleLbl="node4" presStyleIdx="0" presStyleCnt="0"/>
      <dgm:spPr/>
    </dgm:pt>
    <dgm:pt modelId="{3D7370ED-2665-431B-8F70-AF1E6824527C}" type="pres">
      <dgm:prSet presAssocID="{47A86A1A-E0DD-4CAA-AEB1-464123E9AE35}" presName="hierChild4" presStyleCnt="0"/>
      <dgm:spPr/>
    </dgm:pt>
    <dgm:pt modelId="{8A0BB29C-CBDD-4722-A1A1-7753B54F6EDA}" type="pres">
      <dgm:prSet presAssocID="{47A86A1A-E0DD-4CAA-AEB1-464123E9AE35}" presName="hierChild5" presStyleCnt="0"/>
      <dgm:spPr/>
    </dgm:pt>
    <dgm:pt modelId="{3A6ABA81-4616-40EA-826D-22D4EF238966}" type="pres">
      <dgm:prSet presAssocID="{57D50F85-5066-4F2D-AEEA-7C812078D07A}" presName="hierChild5" presStyleCnt="0"/>
      <dgm:spPr/>
    </dgm:pt>
    <dgm:pt modelId="{D1A169BD-810C-4E79-9F65-CBD829A5B2DE}" type="pres">
      <dgm:prSet presAssocID="{D29388B6-4895-4D1A-80E7-25D518450346}" presName="Name28" presStyleLbl="parChTrans1D4" presStyleIdx="18" presStyleCnt="27"/>
      <dgm:spPr/>
    </dgm:pt>
    <dgm:pt modelId="{61FF1F74-D407-4178-B621-4FF1B74A3360}" type="pres">
      <dgm:prSet presAssocID="{EF215A8C-CD1E-4BFA-B1D9-55C080A1D857}" presName="hierRoot2" presStyleCnt="0">
        <dgm:presLayoutVars>
          <dgm:hierBranch val="init"/>
        </dgm:presLayoutVars>
      </dgm:prSet>
      <dgm:spPr/>
    </dgm:pt>
    <dgm:pt modelId="{F4C5F97E-2EF6-437E-8A5A-0ECC3BC68951}" type="pres">
      <dgm:prSet presAssocID="{EF215A8C-CD1E-4BFA-B1D9-55C080A1D857}" presName="rootComposite2" presStyleCnt="0"/>
      <dgm:spPr/>
    </dgm:pt>
    <dgm:pt modelId="{45E308E2-14EE-4167-99B7-E48388E91FE2}" type="pres">
      <dgm:prSet presAssocID="{EF215A8C-CD1E-4BFA-B1D9-55C080A1D857}" presName="rootText2" presStyleLbl="alignAcc1" presStyleIdx="0" presStyleCnt="0">
        <dgm:presLayoutVars>
          <dgm:chPref val="3"/>
        </dgm:presLayoutVars>
      </dgm:prSet>
      <dgm:spPr/>
    </dgm:pt>
    <dgm:pt modelId="{D13DE31D-685A-4D51-ACD6-1B8AE2467040}" type="pres">
      <dgm:prSet presAssocID="{EF215A8C-CD1E-4BFA-B1D9-55C080A1D857}" presName="topArc2" presStyleLbl="parChTrans1D1" presStyleIdx="46" presStyleCnt="64"/>
      <dgm:spPr/>
    </dgm:pt>
    <dgm:pt modelId="{49E2FF7F-8701-4501-8088-BC2FEE0A77BB}" type="pres">
      <dgm:prSet presAssocID="{EF215A8C-CD1E-4BFA-B1D9-55C080A1D857}" presName="bottomArc2" presStyleLbl="parChTrans1D1" presStyleIdx="47" presStyleCnt="64"/>
      <dgm:spPr/>
    </dgm:pt>
    <dgm:pt modelId="{1AAF308C-FA55-4791-83E6-A1E7C1F45975}" type="pres">
      <dgm:prSet presAssocID="{EF215A8C-CD1E-4BFA-B1D9-55C080A1D857}" presName="topConnNode2" presStyleLbl="node4" presStyleIdx="0" presStyleCnt="0"/>
      <dgm:spPr/>
    </dgm:pt>
    <dgm:pt modelId="{20979FEE-F84F-4A10-9FA4-D6EE2693D30D}" type="pres">
      <dgm:prSet presAssocID="{EF215A8C-CD1E-4BFA-B1D9-55C080A1D857}" presName="hierChild4" presStyleCnt="0"/>
      <dgm:spPr/>
    </dgm:pt>
    <dgm:pt modelId="{0FC1C2A8-CBEF-426D-8906-2B79479C796C}" type="pres">
      <dgm:prSet presAssocID="{F4477912-92EA-49AD-98F9-5D3FBD78EA12}" presName="Name28" presStyleLbl="parChTrans1D4" presStyleIdx="19" presStyleCnt="27"/>
      <dgm:spPr/>
    </dgm:pt>
    <dgm:pt modelId="{A4D08027-68B4-42FF-B27F-58051424A8B4}" type="pres">
      <dgm:prSet presAssocID="{88241922-6EA9-49F4-A7EA-316AD6C6AB0A}" presName="hierRoot2" presStyleCnt="0">
        <dgm:presLayoutVars>
          <dgm:hierBranch val="init"/>
        </dgm:presLayoutVars>
      </dgm:prSet>
      <dgm:spPr/>
    </dgm:pt>
    <dgm:pt modelId="{DE3ACAE2-B6BB-4DC3-BBC8-A26980CEB189}" type="pres">
      <dgm:prSet presAssocID="{88241922-6EA9-49F4-A7EA-316AD6C6AB0A}" presName="rootComposite2" presStyleCnt="0"/>
      <dgm:spPr/>
    </dgm:pt>
    <dgm:pt modelId="{985BC826-EEDF-424E-B0FE-44D8A474144B}" type="pres">
      <dgm:prSet presAssocID="{88241922-6EA9-49F4-A7EA-316AD6C6AB0A}" presName="rootText2" presStyleLbl="alignAcc1" presStyleIdx="0" presStyleCnt="0">
        <dgm:presLayoutVars>
          <dgm:chPref val="3"/>
        </dgm:presLayoutVars>
      </dgm:prSet>
      <dgm:spPr/>
    </dgm:pt>
    <dgm:pt modelId="{E8B8891B-AF47-453E-8270-41585D39ED68}" type="pres">
      <dgm:prSet presAssocID="{88241922-6EA9-49F4-A7EA-316AD6C6AB0A}" presName="topArc2" presStyleLbl="parChTrans1D1" presStyleIdx="48" presStyleCnt="64"/>
      <dgm:spPr/>
    </dgm:pt>
    <dgm:pt modelId="{9A8D8577-E8EB-4A5D-B2DC-798B85D7D0AC}" type="pres">
      <dgm:prSet presAssocID="{88241922-6EA9-49F4-A7EA-316AD6C6AB0A}" presName="bottomArc2" presStyleLbl="parChTrans1D1" presStyleIdx="49" presStyleCnt="64"/>
      <dgm:spPr/>
    </dgm:pt>
    <dgm:pt modelId="{710015E7-0803-469E-B2B3-6C70CD178E91}" type="pres">
      <dgm:prSet presAssocID="{88241922-6EA9-49F4-A7EA-316AD6C6AB0A}" presName="topConnNode2" presStyleLbl="node4" presStyleIdx="0" presStyleCnt="0"/>
      <dgm:spPr/>
    </dgm:pt>
    <dgm:pt modelId="{3EF98543-1CDD-490D-B3D1-8DB317F102EC}" type="pres">
      <dgm:prSet presAssocID="{88241922-6EA9-49F4-A7EA-316AD6C6AB0A}" presName="hierChild4" presStyleCnt="0"/>
      <dgm:spPr/>
    </dgm:pt>
    <dgm:pt modelId="{E3D16845-8216-4481-B6E6-20027107F7F1}" type="pres">
      <dgm:prSet presAssocID="{4EB5EC8A-ED59-44F4-8A60-46296EFD415F}" presName="Name28" presStyleLbl="parChTrans1D4" presStyleIdx="20" presStyleCnt="27"/>
      <dgm:spPr/>
    </dgm:pt>
    <dgm:pt modelId="{2BC61B15-986D-434A-8067-E8E0075776F6}" type="pres">
      <dgm:prSet presAssocID="{7B22512A-5BC1-41A1-9374-32D5D872F618}" presName="hierRoot2" presStyleCnt="0">
        <dgm:presLayoutVars>
          <dgm:hierBranch val="init"/>
        </dgm:presLayoutVars>
      </dgm:prSet>
      <dgm:spPr/>
    </dgm:pt>
    <dgm:pt modelId="{FEEDC29D-6B41-45B8-B2B4-2C33DB8E6E4B}" type="pres">
      <dgm:prSet presAssocID="{7B22512A-5BC1-41A1-9374-32D5D872F618}" presName="rootComposite2" presStyleCnt="0"/>
      <dgm:spPr/>
    </dgm:pt>
    <dgm:pt modelId="{0808A228-8482-47D1-BAC3-85F3888F6C3F}" type="pres">
      <dgm:prSet presAssocID="{7B22512A-5BC1-41A1-9374-32D5D872F618}" presName="rootText2" presStyleLbl="alignAcc1" presStyleIdx="0" presStyleCnt="0">
        <dgm:presLayoutVars>
          <dgm:chPref val="3"/>
        </dgm:presLayoutVars>
      </dgm:prSet>
      <dgm:spPr/>
    </dgm:pt>
    <dgm:pt modelId="{05E3CCAD-796B-488D-9217-48EA495D83DF}" type="pres">
      <dgm:prSet presAssocID="{7B22512A-5BC1-41A1-9374-32D5D872F618}" presName="topArc2" presStyleLbl="parChTrans1D1" presStyleIdx="50" presStyleCnt="64"/>
      <dgm:spPr/>
    </dgm:pt>
    <dgm:pt modelId="{D3F8DDBB-AD9F-42E8-8431-7519AB2EA6D9}" type="pres">
      <dgm:prSet presAssocID="{7B22512A-5BC1-41A1-9374-32D5D872F618}" presName="bottomArc2" presStyleLbl="parChTrans1D1" presStyleIdx="51" presStyleCnt="64"/>
      <dgm:spPr/>
    </dgm:pt>
    <dgm:pt modelId="{F5232B97-F52E-4B73-BC32-E0385689ABCA}" type="pres">
      <dgm:prSet presAssocID="{7B22512A-5BC1-41A1-9374-32D5D872F618}" presName="topConnNode2" presStyleLbl="node4" presStyleIdx="0" presStyleCnt="0"/>
      <dgm:spPr/>
    </dgm:pt>
    <dgm:pt modelId="{CEEA9120-5A9F-422F-AC34-4934DD4D5CE1}" type="pres">
      <dgm:prSet presAssocID="{7B22512A-5BC1-41A1-9374-32D5D872F618}" presName="hierChild4" presStyleCnt="0"/>
      <dgm:spPr/>
    </dgm:pt>
    <dgm:pt modelId="{6CDC2940-F0DD-42B3-B50F-8F0C2D470DF0}" type="pres">
      <dgm:prSet presAssocID="{DF30CE40-81DA-4A2D-8D46-8A7DCB4CFE98}" presName="Name28" presStyleLbl="parChTrans1D4" presStyleIdx="21" presStyleCnt="27"/>
      <dgm:spPr/>
    </dgm:pt>
    <dgm:pt modelId="{D30FCD87-D8A6-4D1F-8FE7-CD4766CAC8D9}" type="pres">
      <dgm:prSet presAssocID="{E9A77C6A-1296-41BA-B2EC-5812A66057AF}" presName="hierRoot2" presStyleCnt="0">
        <dgm:presLayoutVars>
          <dgm:hierBranch val="init"/>
        </dgm:presLayoutVars>
      </dgm:prSet>
      <dgm:spPr/>
    </dgm:pt>
    <dgm:pt modelId="{3FC4967B-0967-41AB-A459-1FC5611657B9}" type="pres">
      <dgm:prSet presAssocID="{E9A77C6A-1296-41BA-B2EC-5812A66057AF}" presName="rootComposite2" presStyleCnt="0"/>
      <dgm:spPr/>
    </dgm:pt>
    <dgm:pt modelId="{CFDBE3C2-A79C-4A4E-B3B3-BB25F9A731D5}" type="pres">
      <dgm:prSet presAssocID="{E9A77C6A-1296-41BA-B2EC-5812A66057AF}" presName="rootText2" presStyleLbl="alignAcc1" presStyleIdx="0" presStyleCnt="0">
        <dgm:presLayoutVars>
          <dgm:chPref val="3"/>
        </dgm:presLayoutVars>
      </dgm:prSet>
      <dgm:spPr/>
    </dgm:pt>
    <dgm:pt modelId="{34F1F683-3BAF-43A0-B64E-481298910AAC}" type="pres">
      <dgm:prSet presAssocID="{E9A77C6A-1296-41BA-B2EC-5812A66057AF}" presName="topArc2" presStyleLbl="parChTrans1D1" presStyleIdx="52" presStyleCnt="64"/>
      <dgm:spPr/>
    </dgm:pt>
    <dgm:pt modelId="{AC062BCD-B4C1-4274-B99A-02B54EF7C7E8}" type="pres">
      <dgm:prSet presAssocID="{E9A77C6A-1296-41BA-B2EC-5812A66057AF}" presName="bottomArc2" presStyleLbl="parChTrans1D1" presStyleIdx="53" presStyleCnt="64"/>
      <dgm:spPr/>
    </dgm:pt>
    <dgm:pt modelId="{2045A4AB-4D08-49BA-B78D-78F01810EC25}" type="pres">
      <dgm:prSet presAssocID="{E9A77C6A-1296-41BA-B2EC-5812A66057AF}" presName="topConnNode2" presStyleLbl="node4" presStyleIdx="0" presStyleCnt="0"/>
      <dgm:spPr/>
    </dgm:pt>
    <dgm:pt modelId="{79EA571E-D35A-4BED-97F1-2B9CA8E0B0B7}" type="pres">
      <dgm:prSet presAssocID="{E9A77C6A-1296-41BA-B2EC-5812A66057AF}" presName="hierChild4" presStyleCnt="0"/>
      <dgm:spPr/>
    </dgm:pt>
    <dgm:pt modelId="{5EF643BC-4F4F-46A8-8AA1-CE5F7E1EB9A0}" type="pres">
      <dgm:prSet presAssocID="{DC3372D0-8727-4B86-A256-00F4F88A403E}" presName="Name28" presStyleLbl="parChTrans1D4" presStyleIdx="22" presStyleCnt="27"/>
      <dgm:spPr/>
    </dgm:pt>
    <dgm:pt modelId="{344A48B3-D99C-485E-BA9E-62DB8EEDABCC}" type="pres">
      <dgm:prSet presAssocID="{34B084A5-A73E-4C2D-9BE4-6DA4F8E847A2}" presName="hierRoot2" presStyleCnt="0">
        <dgm:presLayoutVars>
          <dgm:hierBranch val="init"/>
        </dgm:presLayoutVars>
      </dgm:prSet>
      <dgm:spPr/>
    </dgm:pt>
    <dgm:pt modelId="{EC1DDD76-E8C2-42AF-9A5E-AD116D3EC390}" type="pres">
      <dgm:prSet presAssocID="{34B084A5-A73E-4C2D-9BE4-6DA4F8E847A2}" presName="rootComposite2" presStyleCnt="0"/>
      <dgm:spPr/>
    </dgm:pt>
    <dgm:pt modelId="{993E6230-EE15-4267-B281-2C4C5093C6BF}" type="pres">
      <dgm:prSet presAssocID="{34B084A5-A73E-4C2D-9BE4-6DA4F8E847A2}" presName="rootText2" presStyleLbl="alignAcc1" presStyleIdx="0" presStyleCnt="0">
        <dgm:presLayoutVars>
          <dgm:chPref val="3"/>
        </dgm:presLayoutVars>
      </dgm:prSet>
      <dgm:spPr/>
    </dgm:pt>
    <dgm:pt modelId="{94F792EA-BD23-47EF-8E75-BB6B867ACAB1}" type="pres">
      <dgm:prSet presAssocID="{34B084A5-A73E-4C2D-9BE4-6DA4F8E847A2}" presName="topArc2" presStyleLbl="parChTrans1D1" presStyleIdx="54" presStyleCnt="64"/>
      <dgm:spPr/>
    </dgm:pt>
    <dgm:pt modelId="{5BBFE295-F057-4690-93C6-60D90DF27833}" type="pres">
      <dgm:prSet presAssocID="{34B084A5-A73E-4C2D-9BE4-6DA4F8E847A2}" presName="bottomArc2" presStyleLbl="parChTrans1D1" presStyleIdx="55" presStyleCnt="64"/>
      <dgm:spPr/>
    </dgm:pt>
    <dgm:pt modelId="{D9560450-4285-49D8-9785-E7BABCFE5A26}" type="pres">
      <dgm:prSet presAssocID="{34B084A5-A73E-4C2D-9BE4-6DA4F8E847A2}" presName="topConnNode2" presStyleLbl="node4" presStyleIdx="0" presStyleCnt="0"/>
      <dgm:spPr/>
    </dgm:pt>
    <dgm:pt modelId="{1197F4CC-7099-413E-9056-CA7DE63799A7}" type="pres">
      <dgm:prSet presAssocID="{34B084A5-A73E-4C2D-9BE4-6DA4F8E847A2}" presName="hierChild4" presStyleCnt="0"/>
      <dgm:spPr/>
    </dgm:pt>
    <dgm:pt modelId="{539E643C-89D6-4EA9-9D89-A2E499AD2E27}" type="pres">
      <dgm:prSet presAssocID="{34B084A5-A73E-4C2D-9BE4-6DA4F8E847A2}" presName="hierChild5" presStyleCnt="0"/>
      <dgm:spPr/>
    </dgm:pt>
    <dgm:pt modelId="{883F6C39-234A-4376-A413-C4D162047342}" type="pres">
      <dgm:prSet presAssocID="{C365DAFA-9621-40E5-AAD9-E0A3E79BDA9B}" presName="Name28" presStyleLbl="parChTrans1D4" presStyleIdx="23" presStyleCnt="27"/>
      <dgm:spPr/>
    </dgm:pt>
    <dgm:pt modelId="{924252FE-35ED-4353-B89F-3E703BF4438C}" type="pres">
      <dgm:prSet presAssocID="{04EE3C6A-7A57-473F-A9D3-7C08C0955ACB}" presName="hierRoot2" presStyleCnt="0">
        <dgm:presLayoutVars>
          <dgm:hierBranch val="init"/>
        </dgm:presLayoutVars>
      </dgm:prSet>
      <dgm:spPr/>
    </dgm:pt>
    <dgm:pt modelId="{4030E1EA-B6E6-4E36-A95B-F61252F2FD0B}" type="pres">
      <dgm:prSet presAssocID="{04EE3C6A-7A57-473F-A9D3-7C08C0955ACB}" presName="rootComposite2" presStyleCnt="0"/>
      <dgm:spPr/>
    </dgm:pt>
    <dgm:pt modelId="{57FFA4BD-688F-41BC-B615-17F587C30FD5}" type="pres">
      <dgm:prSet presAssocID="{04EE3C6A-7A57-473F-A9D3-7C08C0955ACB}" presName="rootText2" presStyleLbl="alignAcc1" presStyleIdx="0" presStyleCnt="0">
        <dgm:presLayoutVars>
          <dgm:chPref val="3"/>
        </dgm:presLayoutVars>
      </dgm:prSet>
      <dgm:spPr/>
    </dgm:pt>
    <dgm:pt modelId="{9CC3EA5D-C517-4CBB-B190-20A1BE9440C6}" type="pres">
      <dgm:prSet presAssocID="{04EE3C6A-7A57-473F-A9D3-7C08C0955ACB}" presName="topArc2" presStyleLbl="parChTrans1D1" presStyleIdx="56" presStyleCnt="64"/>
      <dgm:spPr/>
    </dgm:pt>
    <dgm:pt modelId="{9E6C86F6-1D78-4A9D-915F-319A4D44C7AC}" type="pres">
      <dgm:prSet presAssocID="{04EE3C6A-7A57-473F-A9D3-7C08C0955ACB}" presName="bottomArc2" presStyleLbl="parChTrans1D1" presStyleIdx="57" presStyleCnt="64"/>
      <dgm:spPr/>
    </dgm:pt>
    <dgm:pt modelId="{DF92525F-E148-4B9C-A2CF-347AA1D5511D}" type="pres">
      <dgm:prSet presAssocID="{04EE3C6A-7A57-473F-A9D3-7C08C0955ACB}" presName="topConnNode2" presStyleLbl="node4" presStyleIdx="0" presStyleCnt="0"/>
      <dgm:spPr/>
    </dgm:pt>
    <dgm:pt modelId="{DB9DE756-A00A-46F5-9CD0-2BE9C4949AF8}" type="pres">
      <dgm:prSet presAssocID="{04EE3C6A-7A57-473F-A9D3-7C08C0955ACB}" presName="hierChild4" presStyleCnt="0"/>
      <dgm:spPr/>
    </dgm:pt>
    <dgm:pt modelId="{1D48B710-88E5-4E4F-A773-9C6BB91A58C0}" type="pres">
      <dgm:prSet presAssocID="{04EE3C6A-7A57-473F-A9D3-7C08C0955ACB}" presName="hierChild5" presStyleCnt="0"/>
      <dgm:spPr/>
    </dgm:pt>
    <dgm:pt modelId="{8479F976-9A70-4823-91EF-009B8FC1CD81}" type="pres">
      <dgm:prSet presAssocID="{E9A77C6A-1296-41BA-B2EC-5812A66057AF}" presName="hierChild5" presStyleCnt="0"/>
      <dgm:spPr/>
    </dgm:pt>
    <dgm:pt modelId="{EE3487B2-8083-4521-BA8E-D5A9852959D5}" type="pres">
      <dgm:prSet presAssocID="{7B22512A-5BC1-41A1-9374-32D5D872F618}" presName="hierChild5" presStyleCnt="0"/>
      <dgm:spPr/>
    </dgm:pt>
    <dgm:pt modelId="{B56E3C1F-F15C-4856-BA38-4C12973A7178}" type="pres">
      <dgm:prSet presAssocID="{88241922-6EA9-49F4-A7EA-316AD6C6AB0A}" presName="hierChild5" presStyleCnt="0"/>
      <dgm:spPr/>
    </dgm:pt>
    <dgm:pt modelId="{844CB3EE-293B-4918-8D0F-5D241B0C944C}" type="pres">
      <dgm:prSet presAssocID="{EF215A8C-CD1E-4BFA-B1D9-55C080A1D857}" presName="hierChild5" presStyleCnt="0"/>
      <dgm:spPr/>
    </dgm:pt>
    <dgm:pt modelId="{22EBB256-3D11-4911-B8E3-743A847EF3E8}" type="pres">
      <dgm:prSet presAssocID="{DFE08757-B1AE-4AC8-826D-BB8FDDA435B7}" presName="Name28" presStyleLbl="parChTrans1D4" presStyleIdx="24" presStyleCnt="27"/>
      <dgm:spPr/>
    </dgm:pt>
    <dgm:pt modelId="{B809DB45-A729-4461-B53F-FC76007FE4B2}" type="pres">
      <dgm:prSet presAssocID="{ABCEE23E-FCEE-452A-8E67-7E6FFE65A00D}" presName="hierRoot2" presStyleCnt="0">
        <dgm:presLayoutVars>
          <dgm:hierBranch val="init"/>
        </dgm:presLayoutVars>
      </dgm:prSet>
      <dgm:spPr/>
    </dgm:pt>
    <dgm:pt modelId="{0C13C974-666A-45C2-BA29-39276BD75D91}" type="pres">
      <dgm:prSet presAssocID="{ABCEE23E-FCEE-452A-8E67-7E6FFE65A00D}" presName="rootComposite2" presStyleCnt="0"/>
      <dgm:spPr/>
    </dgm:pt>
    <dgm:pt modelId="{A27E31B2-63DB-4FE6-97E5-4BC4A2F2992E}" type="pres">
      <dgm:prSet presAssocID="{ABCEE23E-FCEE-452A-8E67-7E6FFE65A00D}" presName="rootText2" presStyleLbl="alignAcc1" presStyleIdx="0" presStyleCnt="0">
        <dgm:presLayoutVars>
          <dgm:chPref val="3"/>
        </dgm:presLayoutVars>
      </dgm:prSet>
      <dgm:spPr/>
    </dgm:pt>
    <dgm:pt modelId="{E08443A8-64CC-4679-A716-7B2CC94AC49F}" type="pres">
      <dgm:prSet presAssocID="{ABCEE23E-FCEE-452A-8E67-7E6FFE65A00D}" presName="topArc2" presStyleLbl="parChTrans1D1" presStyleIdx="58" presStyleCnt="64"/>
      <dgm:spPr/>
    </dgm:pt>
    <dgm:pt modelId="{794B34F5-2FAF-49E6-936C-434225D02291}" type="pres">
      <dgm:prSet presAssocID="{ABCEE23E-FCEE-452A-8E67-7E6FFE65A00D}" presName="bottomArc2" presStyleLbl="parChTrans1D1" presStyleIdx="59" presStyleCnt="64"/>
      <dgm:spPr/>
    </dgm:pt>
    <dgm:pt modelId="{6A6076C2-2CD5-4147-AA6F-6638495DCC1B}" type="pres">
      <dgm:prSet presAssocID="{ABCEE23E-FCEE-452A-8E67-7E6FFE65A00D}" presName="topConnNode2" presStyleLbl="node4" presStyleIdx="0" presStyleCnt="0"/>
      <dgm:spPr/>
    </dgm:pt>
    <dgm:pt modelId="{59A9E426-249D-4F42-BB6C-A9A78EC03AF8}" type="pres">
      <dgm:prSet presAssocID="{ABCEE23E-FCEE-452A-8E67-7E6FFE65A00D}" presName="hierChild4" presStyleCnt="0"/>
      <dgm:spPr/>
    </dgm:pt>
    <dgm:pt modelId="{4293C248-20BC-4951-B910-02D2C5FBC7F0}" type="pres">
      <dgm:prSet presAssocID="{1F003914-A4D7-4B14-B0B8-AE1FB400668D}" presName="Name28" presStyleLbl="parChTrans1D4" presStyleIdx="25" presStyleCnt="27"/>
      <dgm:spPr/>
    </dgm:pt>
    <dgm:pt modelId="{C6AF0B6D-4206-4EEB-A5E8-6853A135B21F}" type="pres">
      <dgm:prSet presAssocID="{BBFD16A0-B7F1-4208-9A9B-54EA5C1E50A1}" presName="hierRoot2" presStyleCnt="0">
        <dgm:presLayoutVars>
          <dgm:hierBranch val="init"/>
        </dgm:presLayoutVars>
      </dgm:prSet>
      <dgm:spPr/>
    </dgm:pt>
    <dgm:pt modelId="{9DB4589B-986D-41D8-9498-3202773EA7C7}" type="pres">
      <dgm:prSet presAssocID="{BBFD16A0-B7F1-4208-9A9B-54EA5C1E50A1}" presName="rootComposite2" presStyleCnt="0"/>
      <dgm:spPr/>
    </dgm:pt>
    <dgm:pt modelId="{8B0CFDBA-CFCB-425E-805A-F4CD51E85F2A}" type="pres">
      <dgm:prSet presAssocID="{BBFD16A0-B7F1-4208-9A9B-54EA5C1E50A1}" presName="rootText2" presStyleLbl="alignAcc1" presStyleIdx="0" presStyleCnt="0">
        <dgm:presLayoutVars>
          <dgm:chPref val="3"/>
        </dgm:presLayoutVars>
      </dgm:prSet>
      <dgm:spPr/>
    </dgm:pt>
    <dgm:pt modelId="{40CF75E2-8486-412E-A423-2234251C20D6}" type="pres">
      <dgm:prSet presAssocID="{BBFD16A0-B7F1-4208-9A9B-54EA5C1E50A1}" presName="topArc2" presStyleLbl="parChTrans1D1" presStyleIdx="60" presStyleCnt="64"/>
      <dgm:spPr/>
    </dgm:pt>
    <dgm:pt modelId="{8D5D93A2-500A-4DF5-9700-E8D86195E773}" type="pres">
      <dgm:prSet presAssocID="{BBFD16A0-B7F1-4208-9A9B-54EA5C1E50A1}" presName="bottomArc2" presStyleLbl="parChTrans1D1" presStyleIdx="61" presStyleCnt="64"/>
      <dgm:spPr/>
    </dgm:pt>
    <dgm:pt modelId="{DF904935-3204-492D-8CF0-F80D6BA6188B}" type="pres">
      <dgm:prSet presAssocID="{BBFD16A0-B7F1-4208-9A9B-54EA5C1E50A1}" presName="topConnNode2" presStyleLbl="node4" presStyleIdx="0" presStyleCnt="0"/>
      <dgm:spPr/>
    </dgm:pt>
    <dgm:pt modelId="{196E58FF-B2AC-475B-BC1D-2A64C02C6716}" type="pres">
      <dgm:prSet presAssocID="{BBFD16A0-B7F1-4208-9A9B-54EA5C1E50A1}" presName="hierChild4" presStyleCnt="0"/>
      <dgm:spPr/>
    </dgm:pt>
    <dgm:pt modelId="{714165C8-2F88-47D4-8A73-4C2CA4A2288E}" type="pres">
      <dgm:prSet presAssocID="{A90FEFE6-6D07-4785-8066-3514419166E7}" presName="Name28" presStyleLbl="parChTrans1D4" presStyleIdx="26" presStyleCnt="27"/>
      <dgm:spPr/>
    </dgm:pt>
    <dgm:pt modelId="{9DB607BC-02EB-41BD-BE72-131117BD486D}" type="pres">
      <dgm:prSet presAssocID="{31BEEDEB-DE04-4280-B29D-575B64CBBF98}" presName="hierRoot2" presStyleCnt="0">
        <dgm:presLayoutVars>
          <dgm:hierBranch val="init"/>
        </dgm:presLayoutVars>
      </dgm:prSet>
      <dgm:spPr/>
    </dgm:pt>
    <dgm:pt modelId="{BEC7B3BD-E3DD-4E15-BDF3-C59EFA0FB910}" type="pres">
      <dgm:prSet presAssocID="{31BEEDEB-DE04-4280-B29D-575B64CBBF98}" presName="rootComposite2" presStyleCnt="0"/>
      <dgm:spPr/>
    </dgm:pt>
    <dgm:pt modelId="{38F64B2A-30CD-4BF4-8A76-5FBFA123FFC2}" type="pres">
      <dgm:prSet presAssocID="{31BEEDEB-DE04-4280-B29D-575B64CBBF98}" presName="rootText2" presStyleLbl="alignAcc1" presStyleIdx="0" presStyleCnt="0">
        <dgm:presLayoutVars>
          <dgm:chPref val="3"/>
        </dgm:presLayoutVars>
      </dgm:prSet>
      <dgm:spPr/>
    </dgm:pt>
    <dgm:pt modelId="{AF89B63E-E9AD-4EF2-B6E4-B89BF6CC6898}" type="pres">
      <dgm:prSet presAssocID="{31BEEDEB-DE04-4280-B29D-575B64CBBF98}" presName="topArc2" presStyleLbl="parChTrans1D1" presStyleIdx="62" presStyleCnt="64"/>
      <dgm:spPr/>
    </dgm:pt>
    <dgm:pt modelId="{8D54E135-4F48-46B0-83AB-359E8B6D248B}" type="pres">
      <dgm:prSet presAssocID="{31BEEDEB-DE04-4280-B29D-575B64CBBF98}" presName="bottomArc2" presStyleLbl="parChTrans1D1" presStyleIdx="63" presStyleCnt="64"/>
      <dgm:spPr/>
    </dgm:pt>
    <dgm:pt modelId="{12511906-ABDF-48A5-A16B-3831F5876797}" type="pres">
      <dgm:prSet presAssocID="{31BEEDEB-DE04-4280-B29D-575B64CBBF98}" presName="topConnNode2" presStyleLbl="node4" presStyleIdx="0" presStyleCnt="0"/>
      <dgm:spPr/>
    </dgm:pt>
    <dgm:pt modelId="{56C5EB3E-D421-4BF4-8B9C-0B53A6F8F516}" type="pres">
      <dgm:prSet presAssocID="{31BEEDEB-DE04-4280-B29D-575B64CBBF98}" presName="hierChild4" presStyleCnt="0"/>
      <dgm:spPr/>
    </dgm:pt>
    <dgm:pt modelId="{C75611D7-E979-4E67-B071-5747EC8A954B}" type="pres">
      <dgm:prSet presAssocID="{31BEEDEB-DE04-4280-B29D-575B64CBBF98}" presName="hierChild5" presStyleCnt="0"/>
      <dgm:spPr/>
    </dgm:pt>
    <dgm:pt modelId="{0756ACDC-B910-49A5-A8D9-91CCDD40147A}" type="pres">
      <dgm:prSet presAssocID="{BBFD16A0-B7F1-4208-9A9B-54EA5C1E50A1}" presName="hierChild5" presStyleCnt="0"/>
      <dgm:spPr/>
    </dgm:pt>
    <dgm:pt modelId="{FC497DF1-20A8-4756-B17B-2F44C8E8A730}" type="pres">
      <dgm:prSet presAssocID="{ABCEE23E-FCEE-452A-8E67-7E6FFE65A00D}" presName="hierChild5" presStyleCnt="0"/>
      <dgm:spPr/>
    </dgm:pt>
    <dgm:pt modelId="{E6DD7885-1C5F-4639-B5BD-434F1623ACD1}" type="pres">
      <dgm:prSet presAssocID="{DEA372BF-90AE-4A9A-B7ED-5FF7064ABE0A}" presName="hierChild5" presStyleCnt="0"/>
      <dgm:spPr/>
    </dgm:pt>
    <dgm:pt modelId="{2E9D9782-8AB5-4324-B9C7-15090862BC9D}" type="pres">
      <dgm:prSet presAssocID="{9CFE57A0-D5EB-4298-BF0A-032DEAE47C89}" presName="hierChild5" presStyleCnt="0"/>
      <dgm:spPr/>
    </dgm:pt>
    <dgm:pt modelId="{A5AB5BD9-8DEB-472B-837D-1CCAF7899623}" type="pres">
      <dgm:prSet presAssocID="{F65787E2-7756-4C66-BEF0-11FD60093AAF}" presName="hierChild5" presStyleCnt="0"/>
      <dgm:spPr/>
    </dgm:pt>
    <dgm:pt modelId="{C52C5967-59AE-425F-B006-48CC57177056}" type="pres">
      <dgm:prSet presAssocID="{2B6F6A5E-0588-455E-95E3-1522AB6CD4FB}" presName="hierChild3" presStyleCnt="0"/>
      <dgm:spPr/>
    </dgm:pt>
  </dgm:ptLst>
  <dgm:cxnLst>
    <dgm:cxn modelId="{C2F66100-FB20-40C1-8FB8-76D113229614}" srcId="{DEA372BF-90AE-4A9A-B7ED-5FF7064ABE0A}" destId="{4733D933-C168-44F6-9B8F-448707F3DD67}" srcOrd="0" destOrd="0" parTransId="{331F1E10-D53E-4EB9-B52D-4E0FABE798D4}" sibTransId="{BF44295A-FC92-434C-BFE7-B6AA5B413FC7}"/>
    <dgm:cxn modelId="{2AA59300-DF0D-43DB-A4E5-66192623F5B5}" type="presOf" srcId="{0E9E549F-3920-46C6-B0D2-FDB3687AB785}" destId="{0ADF5DBA-6C53-4566-8611-22A0B4A4A1A3}" srcOrd="0" destOrd="0" presId="urn:microsoft.com/office/officeart/2008/layout/HalfCircleOrganizationChart"/>
    <dgm:cxn modelId="{F9637803-F711-471D-ACFF-13A8B0B7C0FF}" srcId="{22C0AB3C-D0F8-4335-955C-A2F35A659C1A}" destId="{2B6F6A5E-0588-455E-95E3-1522AB6CD4FB}" srcOrd="0" destOrd="0" parTransId="{9C04A5E0-02F7-4C7B-81BB-A3A9C1C8E5DD}" sibTransId="{DA3ED0E5-95F4-4BF8-8CA8-C480C9DB2CAD}"/>
    <dgm:cxn modelId="{D4134C04-F395-467E-ABF7-427753920BE1}" type="presOf" srcId="{046E2650-868F-41F0-8466-F7742A798160}" destId="{CBD740CE-3B5C-4AAC-A022-08DD878EE574}" srcOrd="1" destOrd="0" presId="urn:microsoft.com/office/officeart/2008/layout/HalfCircleOrganizationChart"/>
    <dgm:cxn modelId="{7F1CF304-6E66-48A4-8C4F-9872658B0C9F}" type="presOf" srcId="{AE0949AF-1989-4CBC-9F27-9FC8CF2D0001}" destId="{D635CE07-5981-42E0-BA23-587EE54041A6}" srcOrd="1" destOrd="0" presId="urn:microsoft.com/office/officeart/2008/layout/HalfCircleOrganizationChart"/>
    <dgm:cxn modelId="{0979FC04-CA28-46A2-988D-2D392E45B56C}" type="presOf" srcId="{2B6F6A5E-0588-455E-95E3-1522AB6CD4FB}" destId="{D9366E7F-6A6E-41FA-A7C8-DE1EBAFF6B52}" srcOrd="0" destOrd="0" presId="urn:microsoft.com/office/officeart/2008/layout/HalfCircleOrganizationChart"/>
    <dgm:cxn modelId="{8E6BD707-9C90-47F6-8D4F-3108BE526FF9}" type="presOf" srcId="{ABCEE23E-FCEE-452A-8E67-7E6FFE65A00D}" destId="{6A6076C2-2CD5-4147-AA6F-6638495DCC1B}" srcOrd="1" destOrd="0" presId="urn:microsoft.com/office/officeart/2008/layout/HalfCircleOrganizationChart"/>
    <dgm:cxn modelId="{8284F508-B111-46C2-806A-7CED72B6D8D9}" type="presOf" srcId="{134E3AB4-E989-4C61-87D7-C05C697B52CD}" destId="{8EDD9516-EBED-46A4-80AD-96B95706D9AE}" srcOrd="0" destOrd="0" presId="urn:microsoft.com/office/officeart/2008/layout/HalfCircleOrganizationChart"/>
    <dgm:cxn modelId="{9D3B2D09-29BE-43D8-8CE5-DB563FB91411}" type="presOf" srcId="{A1291A85-1955-4C27-8F53-A0FFFC5BA2CB}" destId="{9AB4BD83-2B46-4B45-9AB7-E2D549D0A7FF}" srcOrd="0" destOrd="0" presId="urn:microsoft.com/office/officeart/2008/layout/HalfCircleOrganizationChart"/>
    <dgm:cxn modelId="{80D0360B-E5B6-455F-85F5-D6D0F0E10C2A}" type="presOf" srcId="{4EB5EC8A-ED59-44F4-8A60-46296EFD415F}" destId="{E3D16845-8216-4481-B6E6-20027107F7F1}" srcOrd="0" destOrd="0" presId="urn:microsoft.com/office/officeart/2008/layout/HalfCircleOrganizationChart"/>
    <dgm:cxn modelId="{9E5B810B-8DED-4E1B-B5B4-7BF87030056F}" type="presOf" srcId="{96073AD0-F498-4ECD-9088-904628E1CCA7}" destId="{4A7AA261-A199-4E49-BF57-AB094F895424}" srcOrd="1" destOrd="0" presId="urn:microsoft.com/office/officeart/2008/layout/HalfCircleOrganizationChart"/>
    <dgm:cxn modelId="{33B4320D-3A0D-466E-88BB-B1505B3A8103}" type="presOf" srcId="{E6233824-91A3-417E-A6A8-8B20DE76D326}" destId="{F6467762-CBC9-4A01-9C07-4A9B3B4CF849}" srcOrd="1" destOrd="0" presId="urn:microsoft.com/office/officeart/2008/layout/HalfCircleOrganizationChart"/>
    <dgm:cxn modelId="{D136570D-FED0-4D0E-938E-92E9DAFAA4BB}" type="presOf" srcId="{6C5031C0-CCFF-4B1B-85BE-DC1EBF4FB273}" destId="{D4945396-EB6B-4209-9A69-F8565939B00A}" srcOrd="0" destOrd="0" presId="urn:microsoft.com/office/officeart/2008/layout/HalfCircleOrganizationChart"/>
    <dgm:cxn modelId="{E1DAB30D-066D-4B5F-BE06-B08986BC1094}" srcId="{B647F2CE-1C64-40F9-84E4-21168066050C}" destId="{046E2650-868F-41F0-8466-F7742A798160}" srcOrd="1" destOrd="0" parTransId="{BB41B7CB-1F05-4852-A488-48A1433A8CBC}" sibTransId="{752D7C10-A7A3-48DC-BD29-55BB3B224FB5}"/>
    <dgm:cxn modelId="{A1570D0F-1D31-4221-9173-7F16AE65B4E8}" type="presOf" srcId="{D29388B6-4895-4D1A-80E7-25D518450346}" destId="{D1A169BD-810C-4E79-9F65-CBD829A5B2DE}" srcOrd="0" destOrd="0" presId="urn:microsoft.com/office/officeart/2008/layout/HalfCircleOrganizationChart"/>
    <dgm:cxn modelId="{9302890F-902F-4733-8AD1-6FFCA049E72F}" type="presOf" srcId="{319D220E-7C91-4790-AD36-7084297B9C65}" destId="{D6A2D432-B58E-40C1-9A82-A27476AD2F7E}" srcOrd="0" destOrd="0" presId="urn:microsoft.com/office/officeart/2008/layout/HalfCircleOrganizationChart"/>
    <dgm:cxn modelId="{3979AF13-F7F8-43CC-AF68-CCAC0CB8D794}" type="presOf" srcId="{348DA9B9-AC23-4A9B-AB78-31A4E069158C}" destId="{C712E6BC-7FD1-4055-AE05-0AC0879727E8}" srcOrd="0" destOrd="0" presId="urn:microsoft.com/office/officeart/2008/layout/HalfCircleOrganizationChart"/>
    <dgm:cxn modelId="{3A6E0814-0C43-4F40-A610-3D0E08C74B6A}" type="presOf" srcId="{34B084A5-A73E-4C2D-9BE4-6DA4F8E847A2}" destId="{993E6230-EE15-4267-B281-2C4C5093C6BF}" srcOrd="0" destOrd="0" presId="urn:microsoft.com/office/officeart/2008/layout/HalfCircleOrganizationChart"/>
    <dgm:cxn modelId="{D7304817-3C7D-431B-98F2-6D0A8D1E370D}" srcId="{F0E9D375-F7C9-407B-AD89-512D11C0FE6A}" destId="{4A11916B-BC94-4DFF-B2B6-B5149AAAC5C6}" srcOrd="0" destOrd="0" parTransId="{A1291A85-1955-4C27-8F53-A0FFFC5BA2CB}" sibTransId="{DBDCEBF6-0FA2-464E-9E9E-C34A13CCE1EB}"/>
    <dgm:cxn modelId="{AA39D319-0715-4F82-A958-2B69A4F1AC02}" type="presOf" srcId="{331F1E10-D53E-4EB9-B52D-4E0FABE798D4}" destId="{6186A9D5-410A-4DE6-A343-D6D0002C1991}" srcOrd="0" destOrd="0" presId="urn:microsoft.com/office/officeart/2008/layout/HalfCircleOrganizationChart"/>
    <dgm:cxn modelId="{DDEF391A-AE7E-4492-87A9-3B1C347770D5}" type="presOf" srcId="{046E2650-868F-41F0-8466-F7742A798160}" destId="{8449AC6C-F545-4E48-B6B4-425CFC658D71}" srcOrd="0" destOrd="0" presId="urn:microsoft.com/office/officeart/2008/layout/HalfCircleOrganizationChart"/>
    <dgm:cxn modelId="{CA2EDB1A-28A1-4AF0-A4D2-278E05A31116}" type="presOf" srcId="{9CFE57A0-D5EB-4298-BF0A-032DEAE47C89}" destId="{766C2DBD-456E-48E6-BEAA-BBFB63E4B8AD}" srcOrd="1" destOrd="0" presId="urn:microsoft.com/office/officeart/2008/layout/HalfCircleOrganizationChart"/>
    <dgm:cxn modelId="{053ECD1E-2C11-488E-A0D3-C110AAD7B1DC}" type="presOf" srcId="{AE0949AF-1989-4CBC-9F27-9FC8CF2D0001}" destId="{AD935055-3BD8-419E-9707-01D97E48D997}" srcOrd="0" destOrd="0" presId="urn:microsoft.com/office/officeart/2008/layout/HalfCircleOrganizationChart"/>
    <dgm:cxn modelId="{2C063023-BCAB-416A-A47A-9DED33A1ACFF}" srcId="{96073AD0-F498-4ECD-9088-904628E1CCA7}" destId="{E6233824-91A3-417E-A6A8-8B20DE76D326}" srcOrd="0" destOrd="0" parTransId="{D7237FA1-6D7F-46F0-B83F-149ECC0CB84D}" sibTransId="{6FC30859-6013-48AC-9218-BB176ABB5B5D}"/>
    <dgm:cxn modelId="{43294223-2926-4A16-8DE7-E3FE2C053EEA}" type="presOf" srcId="{BB41B7CB-1F05-4852-A488-48A1433A8CBC}" destId="{36ECCC44-33A4-4CA1-A2AD-0BF0AB5E9B93}" srcOrd="0" destOrd="0" presId="urn:microsoft.com/office/officeart/2008/layout/HalfCircleOrganizationChart"/>
    <dgm:cxn modelId="{BB9B9A27-B4DB-4E38-9AD8-9AD4A5D678BA}" srcId="{9CFE57A0-D5EB-4298-BF0A-032DEAE47C89}" destId="{5BBDDDD1-008F-4058-814D-96A95B695B3A}" srcOrd="0" destOrd="0" parTransId="{EDC5353B-9D34-4D64-9905-52CA9A74C1CE}" sibTransId="{629A275A-A5F0-4AFD-9BB5-6166905CBAF0}"/>
    <dgm:cxn modelId="{9BAFF82A-8C31-4F46-963C-19B5A09D93F0}" type="presOf" srcId="{F65787E2-7756-4C66-BEF0-11FD60093AAF}" destId="{7B88BA2E-7E15-48D5-92C0-12D4B29A658A}" srcOrd="0" destOrd="0" presId="urn:microsoft.com/office/officeart/2008/layout/HalfCircleOrganizationChart"/>
    <dgm:cxn modelId="{D5A8852D-BD5C-4F9A-8722-9FB88796374F}" srcId="{F65787E2-7756-4C66-BEF0-11FD60093AAF}" destId="{9CFE57A0-D5EB-4298-BF0A-032DEAE47C89}" srcOrd="1" destOrd="0" parTransId="{A787CEE8-DFC8-488E-A6A8-5F4576F18C28}" sibTransId="{D28D8EA9-9DE1-4879-8441-5D54083A7ED1}"/>
    <dgm:cxn modelId="{EF6E122F-861F-478A-B75D-1E990429B2C9}" type="presOf" srcId="{4733D933-C168-44F6-9B8F-448707F3DD67}" destId="{95F8405C-2E41-4960-9C76-1165569BC6D5}" srcOrd="0" destOrd="0" presId="urn:microsoft.com/office/officeart/2008/layout/HalfCircleOrganizationChart"/>
    <dgm:cxn modelId="{FD1CCE31-6BC9-47D9-B574-A470AF77C92B}" type="presOf" srcId="{6C5031C0-CCFF-4B1B-85BE-DC1EBF4FB273}" destId="{70CC310C-493A-462C-95BD-B6B299164F24}" srcOrd="1" destOrd="0" presId="urn:microsoft.com/office/officeart/2008/layout/HalfCircleOrganizationChart"/>
    <dgm:cxn modelId="{785D5034-5D3C-48E0-BED9-7249C2B1035B}" type="presOf" srcId="{E9A77C6A-1296-41BA-B2EC-5812A66057AF}" destId="{2045A4AB-4D08-49BA-B78D-78F01810EC25}" srcOrd="1" destOrd="0" presId="urn:microsoft.com/office/officeart/2008/layout/HalfCircleOrganizationChart"/>
    <dgm:cxn modelId="{E7C99036-595B-4949-A557-F7A4925CCE43}" type="presOf" srcId="{C365DAFA-9621-40E5-AAD9-E0A3E79BDA9B}" destId="{883F6C39-234A-4376-A413-C4D162047342}" srcOrd="0" destOrd="0" presId="urn:microsoft.com/office/officeart/2008/layout/HalfCircleOrganizationChart"/>
    <dgm:cxn modelId="{1CB10939-48D4-424F-9BE6-7C466AB4F3F5}" type="presOf" srcId="{04EE3C6A-7A57-473F-A9D3-7C08C0955ACB}" destId="{DF92525F-E148-4B9C-A2CF-347AA1D5511D}" srcOrd="1" destOrd="0" presId="urn:microsoft.com/office/officeart/2008/layout/HalfCircleOrganizationChart"/>
    <dgm:cxn modelId="{8417D739-D070-41DA-BF14-49366A1786E1}" type="presOf" srcId="{60F1E342-2A58-4DBD-83F8-180785611606}" destId="{DF87D862-2780-4509-BBC7-4D16DEDD4C87}" srcOrd="0" destOrd="0" presId="urn:microsoft.com/office/officeart/2008/layout/HalfCircleOrganizationChart"/>
    <dgm:cxn modelId="{8195F140-3886-4ADC-8A2D-5013B5E2A1E1}" type="presOf" srcId="{BCD1DA77-ED8C-4452-8031-746126E24E7C}" destId="{F9CAA90F-B10D-4491-B6DC-42E3E9A873C6}" srcOrd="0" destOrd="0" presId="urn:microsoft.com/office/officeart/2008/layout/HalfCircleOrganizationChart"/>
    <dgm:cxn modelId="{33301E5C-F1A1-4F20-A903-2740954B098D}" srcId="{4733D933-C168-44F6-9B8F-448707F3DD67}" destId="{1B5CD4A5-A51F-43F9-855C-EE417254748B}" srcOrd="1" destOrd="0" parTransId="{1CC55151-ACFF-4B1D-96EC-F2B70F4FDA62}" sibTransId="{811F87AC-9DDE-407C-BD2F-02B8B22E8E9E}"/>
    <dgm:cxn modelId="{328AA05C-8742-46E2-BBDA-9F2C44F4D9E5}" type="presOf" srcId="{803F7FF8-7BF7-418B-A484-73451E49DA53}" destId="{F41A39D9-DF4E-440E-9ED5-0F751B5F9057}" srcOrd="0" destOrd="0" presId="urn:microsoft.com/office/officeart/2008/layout/HalfCircleOrganizationChart"/>
    <dgm:cxn modelId="{A805105E-949B-405B-9CAF-E1DA9CE7669B}" type="presOf" srcId="{DC3372D0-8727-4B86-A256-00F4F88A403E}" destId="{5EF643BC-4F4F-46A8-8AA1-CE5F7E1EB9A0}" srcOrd="0" destOrd="0" presId="urn:microsoft.com/office/officeart/2008/layout/HalfCircleOrganizationChart"/>
    <dgm:cxn modelId="{E1D0225E-8D90-472E-A8B9-8E7AB2A5BF81}" type="presOf" srcId="{CFA655EF-9041-4402-9A88-B1B797155263}" destId="{FD214354-1BC9-4E20-A62B-52234808F0CA}" srcOrd="0" destOrd="0" presId="urn:microsoft.com/office/officeart/2008/layout/HalfCircleOrganizationChart"/>
    <dgm:cxn modelId="{537EDF5E-87A6-4177-87A1-860708FC4C5E}" type="presOf" srcId="{4A11916B-BC94-4DFF-B2B6-B5149AAAC5C6}" destId="{24DCF011-5A01-49CF-B2E3-1D7216BD93D0}" srcOrd="1" destOrd="0" presId="urn:microsoft.com/office/officeart/2008/layout/HalfCircleOrganizationChart"/>
    <dgm:cxn modelId="{F238F45E-36AB-46CD-9AD5-403BE93A755A}" type="presOf" srcId="{E6233824-91A3-417E-A6A8-8B20DE76D326}" destId="{8D3BD8AF-F9F6-4BDD-A6BE-0F76BE37B178}" srcOrd="0" destOrd="0" presId="urn:microsoft.com/office/officeart/2008/layout/HalfCircleOrganizationChart"/>
    <dgm:cxn modelId="{5D8DF75F-623E-4BDC-95BB-E8B0F0EDD50F}" srcId="{E9A77C6A-1296-41BA-B2EC-5812A66057AF}" destId="{34B084A5-A73E-4C2D-9BE4-6DA4F8E847A2}" srcOrd="0" destOrd="0" parTransId="{DC3372D0-8727-4B86-A256-00F4F88A403E}" sibTransId="{3431254D-D4CB-4AEC-817A-BE7D03AF41CD}"/>
    <dgm:cxn modelId="{9E5A5342-BD55-4369-BA4B-C4E8D6C15BE1}" type="presOf" srcId="{82F4F6E3-EF73-473E-9645-9C1B0D9BA76A}" destId="{5BA24B62-E03B-429F-82AE-7DA7814BB6D4}" srcOrd="0" destOrd="0" presId="urn:microsoft.com/office/officeart/2008/layout/HalfCircleOrganizationChart"/>
    <dgm:cxn modelId="{34B3F862-6658-483B-A9E2-7276B450D24E}" type="presOf" srcId="{7B22512A-5BC1-41A1-9374-32D5D872F618}" destId="{0808A228-8482-47D1-BAC3-85F3888F6C3F}" srcOrd="0" destOrd="0" presId="urn:microsoft.com/office/officeart/2008/layout/HalfCircleOrganizationChart"/>
    <dgm:cxn modelId="{8EE64D43-2312-464D-BC50-A155BF50DD6C}" type="presOf" srcId="{31BEEDEB-DE04-4280-B29D-575B64CBBF98}" destId="{12511906-ABDF-48A5-A16B-3831F5876797}" srcOrd="1" destOrd="0" presId="urn:microsoft.com/office/officeart/2008/layout/HalfCircleOrganizationChart"/>
    <dgm:cxn modelId="{90118C43-B991-4F25-9835-3382B7CF3D56}" type="presOf" srcId="{4190CC3E-1EE4-44C7-82CC-D459B597054E}" destId="{350714AE-A374-4101-9A2D-B44735231374}" srcOrd="0" destOrd="0" presId="urn:microsoft.com/office/officeart/2008/layout/HalfCircleOrganizationChart"/>
    <dgm:cxn modelId="{90F6A443-DC19-4692-9FCE-D18009F2E012}" type="presOf" srcId="{F0E9D375-F7C9-407B-AD89-512D11C0FE6A}" destId="{2FC54A92-3CB6-4D19-A279-E79D2406BF14}" srcOrd="0" destOrd="0" presId="urn:microsoft.com/office/officeart/2008/layout/HalfCircleOrganizationChart"/>
    <dgm:cxn modelId="{2332DF65-217F-41AC-A5A1-24F835B9147B}" type="presOf" srcId="{88241922-6EA9-49F4-A7EA-316AD6C6AB0A}" destId="{985BC826-EEDF-424E-B0FE-44D8A474144B}" srcOrd="0" destOrd="0" presId="urn:microsoft.com/office/officeart/2008/layout/HalfCircleOrganizationChart"/>
    <dgm:cxn modelId="{A1770646-3EF7-4148-80C5-706BF1AF66FD}" type="presOf" srcId="{57D50F85-5066-4F2D-AEEA-7C812078D07A}" destId="{3406C6FA-3CF8-43DA-96A0-DFCC062E5617}" srcOrd="1" destOrd="0" presId="urn:microsoft.com/office/officeart/2008/layout/HalfCircleOrganizationChart"/>
    <dgm:cxn modelId="{FD370847-C468-4D33-9219-B2F2F3988FDB}" srcId="{9CFE57A0-D5EB-4298-BF0A-032DEAE47C89}" destId="{F0E9D375-F7C9-407B-AD89-512D11C0FE6A}" srcOrd="2" destOrd="0" parTransId="{348DA9B9-AC23-4A9B-AB78-31A4E069158C}" sibTransId="{7DA9CAC2-3CEA-4E15-AE70-BAE8EB27E608}"/>
    <dgm:cxn modelId="{CE29A447-36E9-4ACD-A166-7642976466D9}" type="presOf" srcId="{970CBA58-F71B-4323-8F57-6F985B3D4DBC}" destId="{8BCBEB7F-11B8-4EE8-A527-6CBCE70CB7F1}" srcOrd="0" destOrd="0" presId="urn:microsoft.com/office/officeart/2008/layout/HalfCircleOrganizationChart"/>
    <dgm:cxn modelId="{A86AA948-1867-4201-A12B-3308B0E5A07D}" srcId="{F65787E2-7756-4C66-BEF0-11FD60093AAF}" destId="{B647F2CE-1C64-40F9-84E4-21168066050C}" srcOrd="0" destOrd="0" parTransId="{BCD1DA77-ED8C-4452-8031-746126E24E7C}" sibTransId="{C53FE438-7DB4-4BCD-824D-D9CF1EEC1331}"/>
    <dgm:cxn modelId="{702CE768-2ED6-4F17-8D6D-83E798A50EB1}" type="presOf" srcId="{DA6E3D67-0B1A-4930-99D3-AFE76A31EADF}" destId="{D61B8DF3-62A7-41F3-82E2-B6A4D974E7AF}" srcOrd="0" destOrd="0" presId="urn:microsoft.com/office/officeart/2008/layout/HalfCircleOrganizationChart"/>
    <dgm:cxn modelId="{5C6DFA48-C548-4AFD-BDA4-6CC17DA64DFB}" type="presOf" srcId="{57517ACF-F62B-45A4-8417-E6FE9FEBCE8D}" destId="{E2E1E7C9-4917-4E9C-8339-745DEF43DCE9}" srcOrd="0" destOrd="0" presId="urn:microsoft.com/office/officeart/2008/layout/HalfCircleOrganizationChart"/>
    <dgm:cxn modelId="{E49D7D69-AB19-495A-81A3-AD197A190F5E}" type="presOf" srcId="{F65787E2-7756-4C66-BEF0-11FD60093AAF}" destId="{9E0965E1-D7F8-4154-A89F-DB515A0411C4}" srcOrd="1" destOrd="0" presId="urn:microsoft.com/office/officeart/2008/layout/HalfCircleOrganizationChart"/>
    <dgm:cxn modelId="{7F60A06A-2624-46B3-A3FB-21785C123E65}" type="presOf" srcId="{0E9E549F-3920-46C6-B0D2-FDB3687AB785}" destId="{F083815D-1D3D-4F52-B0EF-BF9C648C9253}" srcOrd="1" destOrd="0" presId="urn:microsoft.com/office/officeart/2008/layout/HalfCircleOrganizationChart"/>
    <dgm:cxn modelId="{A7CBE56A-093D-4348-BD08-D9B007033308}" type="presOf" srcId="{A90FEFE6-6D07-4785-8066-3514419166E7}" destId="{714165C8-2F88-47D4-8A73-4C2CA4A2288E}" srcOrd="0" destOrd="0" presId="urn:microsoft.com/office/officeart/2008/layout/HalfCircleOrganizationChart"/>
    <dgm:cxn modelId="{60DDF46A-4824-4319-B8D2-38A889B520E4}" type="presOf" srcId="{D7237FA1-6D7F-46F0-B83F-149ECC0CB84D}" destId="{6CEB7884-99F7-451B-829C-4BD11BB29DA5}" srcOrd="0" destOrd="0" presId="urn:microsoft.com/office/officeart/2008/layout/HalfCircleOrganizationChart"/>
    <dgm:cxn modelId="{E7CB496B-BF40-44B8-B1EE-53F1F60B17BF}" srcId="{7B22512A-5BC1-41A1-9374-32D5D872F618}" destId="{E9A77C6A-1296-41BA-B2EC-5812A66057AF}" srcOrd="0" destOrd="0" parTransId="{DF30CE40-81DA-4A2D-8D46-8A7DCB4CFE98}" sibTransId="{BE702B86-30D3-4D35-8370-974CB1A70893}"/>
    <dgm:cxn modelId="{C742886B-7E4A-4DF3-8609-77A6B950DDF6}" type="presOf" srcId="{DEA372BF-90AE-4A9A-B7ED-5FF7064ABE0A}" destId="{9231C2BC-874C-41E8-BD87-5B90C2B9D84D}" srcOrd="0" destOrd="0" presId="urn:microsoft.com/office/officeart/2008/layout/HalfCircleOrganizationChart"/>
    <dgm:cxn modelId="{04C0A06B-48CD-4157-BB6C-D5A8AC480479}" type="presOf" srcId="{DFE08757-B1AE-4AC8-826D-BB8FDDA435B7}" destId="{22EBB256-3D11-4911-B8E3-743A847EF3E8}" srcOrd="0" destOrd="0" presId="urn:microsoft.com/office/officeart/2008/layout/HalfCircleOrganizationChart"/>
    <dgm:cxn modelId="{0D9EF04C-02E0-4DC0-9C44-08890D879440}" type="presOf" srcId="{EF215A8C-CD1E-4BFA-B1D9-55C080A1D857}" destId="{45E308E2-14EE-4167-99B7-E48388E91FE2}" srcOrd="0" destOrd="0" presId="urn:microsoft.com/office/officeart/2008/layout/HalfCircleOrganizationChart"/>
    <dgm:cxn modelId="{5106F54C-7C97-4E97-887F-FE5DB914F1C0}" type="presOf" srcId="{F0E9D375-F7C9-407B-AD89-512D11C0FE6A}" destId="{0D42ECD9-A595-4898-8026-9EAE720CAF3E}" srcOrd="1" destOrd="0" presId="urn:microsoft.com/office/officeart/2008/layout/HalfCircleOrganizationChart"/>
    <dgm:cxn modelId="{2A2F1D6D-167D-4BDF-B825-E043E7D2504E}" type="presOf" srcId="{351ABB51-0927-4AFD-A19F-8F1A59A16699}" destId="{BF8153EE-DFD2-4CB9-9A36-36158312123E}" srcOrd="0" destOrd="0" presId="urn:microsoft.com/office/officeart/2008/layout/HalfCircleOrganizationChart"/>
    <dgm:cxn modelId="{2094BF50-DA55-4011-8707-E68636A01CC5}" type="presOf" srcId="{351ABB51-0927-4AFD-A19F-8F1A59A16699}" destId="{4DB59FC2-AA07-4326-A2F5-C2521347B338}" srcOrd="1" destOrd="0" presId="urn:microsoft.com/office/officeart/2008/layout/HalfCircleOrganizationChart"/>
    <dgm:cxn modelId="{286FE770-B2D4-411D-A93A-BEA3A0169590}" type="presOf" srcId="{96073AD0-F498-4ECD-9088-904628E1CCA7}" destId="{053DA5B7-6108-45C6-BF0A-F837833E157D}" srcOrd="0" destOrd="0" presId="urn:microsoft.com/office/officeart/2008/layout/HalfCircleOrganizationChart"/>
    <dgm:cxn modelId="{BFA5E871-8EB8-4DBA-8EB5-FA7ED137A1CD}" type="presOf" srcId="{5BBDDDD1-008F-4058-814D-96A95B695B3A}" destId="{E8A5070C-6021-42B1-AD5B-34961A2C929C}" srcOrd="1" destOrd="0" presId="urn:microsoft.com/office/officeart/2008/layout/HalfCircleOrganizationChart"/>
    <dgm:cxn modelId="{3E269C74-3B32-4304-A7E4-E2E45AB85047}" type="presOf" srcId="{4A11916B-BC94-4DFF-B2B6-B5149AAAC5C6}" destId="{52D3982B-23BC-40E8-AECE-595D7184167E}" srcOrd="0" destOrd="0" presId="urn:microsoft.com/office/officeart/2008/layout/HalfCircleOrganizationChart"/>
    <dgm:cxn modelId="{FBD43D55-FFAE-4D27-9D18-59ABF33B6A5A}" srcId="{B647F2CE-1C64-40F9-84E4-21168066050C}" destId="{EAF82922-FC0C-416C-A5C0-0C2B621FD4FB}" srcOrd="0" destOrd="0" parTransId="{4190CC3E-1EE4-44C7-82CC-D459B597054E}" sibTransId="{37DB112E-E277-4E03-990A-7B963ECB83EC}"/>
    <dgm:cxn modelId="{A47D9655-1D65-4F8C-A21A-E39ED91949BD}" type="presOf" srcId="{F4477912-92EA-49AD-98F9-5D3FBD78EA12}" destId="{0FC1C2A8-CBEF-426D-8906-2B79479C796C}" srcOrd="0" destOrd="0" presId="urn:microsoft.com/office/officeart/2008/layout/HalfCircleOrganizationChart"/>
    <dgm:cxn modelId="{91F56956-B4CB-45C8-AC02-45A1352FA347}" srcId="{AE0949AF-1989-4CBC-9F27-9FC8CF2D0001}" destId="{96073AD0-F498-4ECD-9088-904628E1CCA7}" srcOrd="0" destOrd="0" parTransId="{DA6E3D67-0B1A-4930-99D3-AFE76A31EADF}" sibTransId="{E0C168CD-C048-4501-A680-A65705E1F69E}"/>
    <dgm:cxn modelId="{035B1C57-C543-4A86-AF58-54A82309FBD2}" type="presOf" srcId="{BBFD16A0-B7F1-4208-9A9B-54EA5C1E50A1}" destId="{8B0CFDBA-CFCB-425E-805A-F4CD51E85F2A}" srcOrd="0" destOrd="0" presId="urn:microsoft.com/office/officeart/2008/layout/HalfCircleOrganizationChart"/>
    <dgm:cxn modelId="{59C1BD59-E2C4-44C8-B356-BAE5505F7B00}" type="presOf" srcId="{88241922-6EA9-49F4-A7EA-316AD6C6AB0A}" destId="{710015E7-0803-469E-B2B3-6C70CD178E91}" srcOrd="1" destOrd="0" presId="urn:microsoft.com/office/officeart/2008/layout/HalfCircleOrganizationChart"/>
    <dgm:cxn modelId="{C27E027E-A907-404B-8FD1-EA74EF352840}" type="presOf" srcId="{B647F2CE-1C64-40F9-84E4-21168066050C}" destId="{5CCCFC77-723E-427E-B338-7E6F187A388F}" srcOrd="0" destOrd="0" presId="urn:microsoft.com/office/officeart/2008/layout/HalfCircleOrganizationChart"/>
    <dgm:cxn modelId="{B7EF0484-4C78-4A67-8E8E-A4AFA1932BA9}" type="presOf" srcId="{2B6F6A5E-0588-455E-95E3-1522AB6CD4FB}" destId="{504382BF-615E-44FE-B459-85C6F9118BF1}" srcOrd="1" destOrd="0" presId="urn:microsoft.com/office/officeart/2008/layout/HalfCircleOrganizationChart"/>
    <dgm:cxn modelId="{C5F86C85-4B4E-4100-B9E6-6F476AB3C4FA}" srcId="{4733D933-C168-44F6-9B8F-448707F3DD67}" destId="{6C5031C0-CCFF-4B1B-85BE-DC1EBF4FB273}" srcOrd="0" destOrd="0" parTransId="{82F4F6E3-EF73-473E-9645-9C1B0D9BA76A}" sibTransId="{657DDEF4-2F03-4338-8613-3CC3E6F3E8BA}"/>
    <dgm:cxn modelId="{72BBBF86-A8A8-47AE-9015-CF7B641DCCD6}" srcId="{DEA372BF-90AE-4A9A-B7ED-5FF7064ABE0A}" destId="{ABCEE23E-FCEE-452A-8E67-7E6FFE65A00D}" srcOrd="3" destOrd="0" parTransId="{DFE08757-B1AE-4AC8-826D-BB8FDDA435B7}" sibTransId="{27DCEEC3-393E-476A-949C-2547BA0B7E61}"/>
    <dgm:cxn modelId="{0AB4398A-2821-4CE2-8DF0-C197CD295D71}" type="presOf" srcId="{DF30CE40-81DA-4A2D-8D46-8A7DCB4CFE98}" destId="{6CDC2940-F0DD-42B3-B50F-8F0C2D470DF0}" srcOrd="0" destOrd="0" presId="urn:microsoft.com/office/officeart/2008/layout/HalfCircleOrganizationChart"/>
    <dgm:cxn modelId="{11D4D28C-E7D0-4F94-A47B-02251233D808}" type="presOf" srcId="{E9A77C6A-1296-41BA-B2EC-5812A66057AF}" destId="{CFDBE3C2-A79C-4A4E-B3B3-BB25F9A731D5}" srcOrd="0" destOrd="0" presId="urn:microsoft.com/office/officeart/2008/layout/HalfCircleOrganizationChart"/>
    <dgm:cxn modelId="{E7CDF990-67A3-4B31-A8EE-4CA8C36A64D9}" srcId="{57D50F85-5066-4F2D-AEEA-7C812078D07A}" destId="{47A86A1A-E0DD-4CAA-AEB1-464123E9AE35}" srcOrd="0" destOrd="0" parTransId="{19FF012F-CB9D-400E-81FB-CEA5D54F18CA}" sibTransId="{E5D5B91C-DAF0-4F96-B064-EB80C57FD4D1}"/>
    <dgm:cxn modelId="{C4267C92-F462-4927-8EA7-CC7825580588}" type="presOf" srcId="{5BBDDDD1-008F-4058-814D-96A95B695B3A}" destId="{76143FFA-F6E3-4072-BF54-7AADD1946B3B}" srcOrd="0" destOrd="0" presId="urn:microsoft.com/office/officeart/2008/layout/HalfCircleOrganizationChart"/>
    <dgm:cxn modelId="{8A099E93-9FBC-4133-BE12-13E2EA2F0628}" srcId="{2B6F6A5E-0588-455E-95E3-1522AB6CD4FB}" destId="{F65787E2-7756-4C66-BEF0-11FD60093AAF}" srcOrd="1" destOrd="0" parTransId="{803F7FF8-7BF7-418B-A484-73451E49DA53}" sibTransId="{0BD04ADF-A11E-4DC9-976A-473EBB164AD2}"/>
    <dgm:cxn modelId="{0926F89E-50C1-4076-9864-99F4EA6CABC0}" type="presOf" srcId="{1CC55151-ACFF-4B1D-96EC-F2B70F4FDA62}" destId="{ABF46260-6774-459C-BA58-ECA0381146FF}" srcOrd="0" destOrd="0" presId="urn:microsoft.com/office/officeart/2008/layout/HalfCircleOrganizationChart"/>
    <dgm:cxn modelId="{8A2866A1-1B27-4FCD-B9CD-E590F5BCD96A}" type="presOf" srcId="{9B01DA8A-30EA-446A-8B52-A1E82958BAF0}" destId="{E570DCCE-18F5-4E59-B6A4-6A51F09F8AEF}" srcOrd="0" destOrd="0" presId="urn:microsoft.com/office/officeart/2008/layout/HalfCircleOrganizationChart"/>
    <dgm:cxn modelId="{AC7B63A3-1DE2-4BAE-90D8-A51B5FF884F3}" type="presOf" srcId="{DEA372BF-90AE-4A9A-B7ED-5FF7064ABE0A}" destId="{665FACE5-2B6C-4483-BDE1-6EB05AD77414}" srcOrd="1" destOrd="0" presId="urn:microsoft.com/office/officeart/2008/layout/HalfCircleOrganizationChart"/>
    <dgm:cxn modelId="{4CE5B0A3-D6D6-48D1-B2E5-CA748BD28800}" srcId="{0E9E549F-3920-46C6-B0D2-FDB3687AB785}" destId="{351ABB51-0927-4AFD-A19F-8F1A59A16699}" srcOrd="1" destOrd="0" parTransId="{134E3AB4-E989-4C61-87D7-C05C697B52CD}" sibTransId="{8FC41C1A-1390-4334-8519-4A38331E2594}"/>
    <dgm:cxn modelId="{3CEC5EA4-1496-4601-AC27-6213A47B4FC5}" type="presOf" srcId="{EDC5353B-9D34-4D64-9905-52CA9A74C1CE}" destId="{EE6E3EB4-9ABE-4F8A-A22C-4D4E72CA575A}" srcOrd="0" destOrd="0" presId="urn:microsoft.com/office/officeart/2008/layout/HalfCircleOrganizationChart"/>
    <dgm:cxn modelId="{3C0E91A4-373A-4170-BBD3-B733C9AEB4D4}" type="presOf" srcId="{060C64C6-09C8-4308-B932-2FAE08483251}" destId="{038D31BA-DFAA-4BC9-A341-CF94FF933E17}" srcOrd="1" destOrd="0" presId="urn:microsoft.com/office/officeart/2008/layout/HalfCircleOrganizationChart"/>
    <dgm:cxn modelId="{07BB66A6-C603-4862-8AA6-395BC973A81F}" srcId="{4A11916B-BC94-4DFF-B2B6-B5149AAAC5C6}" destId="{A04C7B5D-C77B-4517-94E3-E33F9C2BB6E5}" srcOrd="0" destOrd="0" parTransId="{44D790B3-B887-4EB7-A2A8-6FAD40683AD9}" sibTransId="{3E139411-70FC-4A12-A08F-47D91495592C}"/>
    <dgm:cxn modelId="{85095DA7-F450-4845-8B63-F1ADC4CC21E5}" srcId="{0E9E549F-3920-46C6-B0D2-FDB3687AB785}" destId="{970CBA58-F71B-4323-8F57-6F985B3D4DBC}" srcOrd="0" destOrd="0" parTransId="{9B01DA8A-30EA-446A-8B52-A1E82958BAF0}" sibTransId="{7084D5A1-322E-42E5-9A04-E1D15E9BF711}"/>
    <dgm:cxn modelId="{6381E1A7-B222-46CF-BD4A-A61187C084C7}" srcId="{9CFE57A0-D5EB-4298-BF0A-032DEAE47C89}" destId="{AE0949AF-1989-4CBC-9F27-9FC8CF2D0001}" srcOrd="1" destOrd="0" parTransId="{319D220E-7C91-4790-AD36-7084297B9C65}" sibTransId="{8A776283-29BB-443A-AF51-50BB46955AE4}"/>
    <dgm:cxn modelId="{64297DAD-0AC7-4428-97F2-4D4AE4FEC003}" type="presOf" srcId="{1F003914-A4D7-4B14-B0B8-AE1FB400668D}" destId="{4293C248-20BC-4951-B910-02D2C5FBC7F0}" srcOrd="0" destOrd="0" presId="urn:microsoft.com/office/officeart/2008/layout/HalfCircleOrganizationChart"/>
    <dgm:cxn modelId="{9D8644B1-C9C4-44A9-BA28-C2CA4B0C6F2C}" srcId="{DEA372BF-90AE-4A9A-B7ED-5FF7064ABE0A}" destId="{EF215A8C-CD1E-4BFA-B1D9-55C080A1D857}" srcOrd="2" destOrd="0" parTransId="{D29388B6-4895-4D1A-80E7-25D518450346}" sibTransId="{E83723C4-72C0-49C1-AF5E-18583C16EC3E}"/>
    <dgm:cxn modelId="{2A9142B2-15E7-446F-B8C2-E374A9045925}" srcId="{2B6F6A5E-0588-455E-95E3-1522AB6CD4FB}" destId="{060C64C6-09C8-4308-B932-2FAE08483251}" srcOrd="0" destOrd="0" parTransId="{57517ACF-F62B-45A4-8417-E6FE9FEBCE8D}" sibTransId="{8A13DB9E-AC7E-4E25-962F-384D3D040263}"/>
    <dgm:cxn modelId="{D5E78FB2-9AB3-4C1C-832D-004FBD6916FF}" type="presOf" srcId="{44D790B3-B887-4EB7-A2A8-6FAD40683AD9}" destId="{F2A9CA56-9BE3-4F5C-8A86-660431EC7BFB}" srcOrd="0" destOrd="0" presId="urn:microsoft.com/office/officeart/2008/layout/HalfCircleOrganizationChart"/>
    <dgm:cxn modelId="{7B36A8B3-CCF2-4289-A494-A54C81D88607}" type="presOf" srcId="{1B5CD4A5-A51F-43F9-855C-EE417254748B}" destId="{B2A1CC7A-EE46-4477-AD3B-7CC8BC3BB483}" srcOrd="0" destOrd="0" presId="urn:microsoft.com/office/officeart/2008/layout/HalfCircleOrganizationChart"/>
    <dgm:cxn modelId="{C39A37B7-29F1-4B0F-AD8F-623433F2B334}" type="presOf" srcId="{7B22512A-5BC1-41A1-9374-32D5D872F618}" destId="{F5232B97-F52E-4B73-BC32-E0385689ABCA}" srcOrd="1" destOrd="0" presId="urn:microsoft.com/office/officeart/2008/layout/HalfCircleOrganizationChart"/>
    <dgm:cxn modelId="{E04765B8-7863-4F68-AD2D-CFBF130F541C}" srcId="{EF215A8C-CD1E-4BFA-B1D9-55C080A1D857}" destId="{88241922-6EA9-49F4-A7EA-316AD6C6AB0A}" srcOrd="0" destOrd="0" parTransId="{F4477912-92EA-49AD-98F9-5D3FBD78EA12}" sibTransId="{639E1B92-24EB-486E-A022-4825F21F49DC}"/>
    <dgm:cxn modelId="{DE6C8FB9-CA82-4513-AB5E-24DBE2D303F2}" type="presOf" srcId="{EF215A8C-CD1E-4BFA-B1D9-55C080A1D857}" destId="{1AAF308C-FA55-4791-83E6-A1E7C1F45975}" srcOrd="1" destOrd="0" presId="urn:microsoft.com/office/officeart/2008/layout/HalfCircleOrganizationChart"/>
    <dgm:cxn modelId="{FC914ABD-3B60-4A23-9D72-9DD5952666F0}" srcId="{E9A77C6A-1296-41BA-B2EC-5812A66057AF}" destId="{04EE3C6A-7A57-473F-A9D3-7C08C0955ACB}" srcOrd="1" destOrd="0" parTransId="{C365DAFA-9621-40E5-AAD9-E0A3E79BDA9B}" sibTransId="{CE7E3B0F-A602-4527-9635-E7F353E3593A}"/>
    <dgm:cxn modelId="{147CB5C1-DF85-45CB-A700-9ACA4D9DD940}" type="presOf" srcId="{B647F2CE-1C64-40F9-84E4-21168066050C}" destId="{04FC8767-D1E3-41B6-9EAA-60253D69643C}" srcOrd="1" destOrd="0" presId="urn:microsoft.com/office/officeart/2008/layout/HalfCircleOrganizationChart"/>
    <dgm:cxn modelId="{673668C4-E5A9-4684-9575-98C61E6944A6}" type="presOf" srcId="{1B5CD4A5-A51F-43F9-855C-EE417254748B}" destId="{BEF9CCC5-6F8B-411F-9473-A099503D76A5}" srcOrd="1" destOrd="0" presId="urn:microsoft.com/office/officeart/2008/layout/HalfCircleOrganizationChart"/>
    <dgm:cxn modelId="{62E85CC5-F579-4B94-B08C-88C1901FC209}" type="presOf" srcId="{ABCEE23E-FCEE-452A-8E67-7E6FFE65A00D}" destId="{A27E31B2-63DB-4FE6-97E5-4BC4A2F2992E}" srcOrd="0" destOrd="0" presId="urn:microsoft.com/office/officeart/2008/layout/HalfCircleOrganizationChart"/>
    <dgm:cxn modelId="{F965F6C6-FFF9-4154-B4C1-618B45637FB8}" srcId="{88241922-6EA9-49F4-A7EA-316AD6C6AB0A}" destId="{7B22512A-5BC1-41A1-9374-32D5D872F618}" srcOrd="0" destOrd="0" parTransId="{4EB5EC8A-ED59-44F4-8A60-46296EFD415F}" sibTransId="{BB475BA5-C4E6-44DD-9DA9-5A42F4C315A9}"/>
    <dgm:cxn modelId="{9D92EAC7-81B3-47CD-BC23-6303FB204585}" type="presOf" srcId="{31BEEDEB-DE04-4280-B29D-575B64CBBF98}" destId="{38F64B2A-30CD-4BF4-8A76-5FBFA123FFC2}" srcOrd="0" destOrd="0" presId="urn:microsoft.com/office/officeart/2008/layout/HalfCircleOrganizationChart"/>
    <dgm:cxn modelId="{2D2323CB-46E0-4435-8AEF-21229024CF44}" type="presOf" srcId="{19FF012F-CB9D-400E-81FB-CEA5D54F18CA}" destId="{26D1617F-9673-4CF2-86B7-0303D89EDB58}" srcOrd="0" destOrd="0" presId="urn:microsoft.com/office/officeart/2008/layout/HalfCircleOrganizationChart"/>
    <dgm:cxn modelId="{179571CE-99AE-45D4-8091-B051CC751850}" type="presOf" srcId="{EAF82922-FC0C-416C-A5C0-0C2B621FD4FB}" destId="{229175AE-4B39-44A8-A902-80C910CE344D}" srcOrd="0" destOrd="0" presId="urn:microsoft.com/office/officeart/2008/layout/HalfCircleOrganizationChart"/>
    <dgm:cxn modelId="{767796D1-9C22-4768-8503-EC8566625C30}" type="presOf" srcId="{9CFE57A0-D5EB-4298-BF0A-032DEAE47C89}" destId="{809B8C55-F589-4FA5-9EA4-4FFD2B6B781C}" srcOrd="0" destOrd="0" presId="urn:microsoft.com/office/officeart/2008/layout/HalfCircleOrganizationChart"/>
    <dgm:cxn modelId="{DD71BDD5-B0CB-4410-B33E-D5409A8DD8AF}" type="presOf" srcId="{A787CEE8-DFC8-488E-A6A8-5F4576F18C28}" destId="{CF740B0E-601A-4F7A-A458-97DFD17CB6B5}" srcOrd="0" destOrd="0" presId="urn:microsoft.com/office/officeart/2008/layout/HalfCircleOrganizationChart"/>
    <dgm:cxn modelId="{6CC330D7-B393-4F92-9848-FB9C6F5C52E2}" type="presOf" srcId="{BBFD16A0-B7F1-4208-9A9B-54EA5C1E50A1}" destId="{DF904935-3204-492D-8CF0-F80D6BA6188B}" srcOrd="1" destOrd="0" presId="urn:microsoft.com/office/officeart/2008/layout/HalfCircleOrganizationChart"/>
    <dgm:cxn modelId="{2B413DD7-7516-4379-A6C3-DEE2CF9FD637}" type="presOf" srcId="{4733D933-C168-44F6-9B8F-448707F3DD67}" destId="{58B5BB20-10E5-4089-AE39-42414F512D71}" srcOrd="1" destOrd="0" presId="urn:microsoft.com/office/officeart/2008/layout/HalfCircleOrganizationChart"/>
    <dgm:cxn modelId="{BC8803D8-4104-40A0-B466-883C479EBDF6}" srcId="{BBFD16A0-B7F1-4208-9A9B-54EA5C1E50A1}" destId="{31BEEDEB-DE04-4280-B29D-575B64CBBF98}" srcOrd="0" destOrd="0" parTransId="{A90FEFE6-6D07-4785-8066-3514419166E7}" sibTransId="{9A2EBC35-DEF2-441D-9281-F86C91D6463B}"/>
    <dgm:cxn modelId="{54F028D8-132A-4D05-95D2-01B5F64D68C1}" type="presOf" srcId="{22C0AB3C-D0F8-4335-955C-A2F35A659C1A}" destId="{08DDA40A-8037-43EB-A349-C60CF6C76C19}" srcOrd="0" destOrd="0" presId="urn:microsoft.com/office/officeart/2008/layout/HalfCircleOrganizationChart"/>
    <dgm:cxn modelId="{2E205CD8-B0F7-4E61-9DDE-EAD0BEF7A9E4}" srcId="{ABCEE23E-FCEE-452A-8E67-7E6FFE65A00D}" destId="{BBFD16A0-B7F1-4208-9A9B-54EA5C1E50A1}" srcOrd="0" destOrd="0" parTransId="{1F003914-A4D7-4B14-B0B8-AE1FB400668D}" sibTransId="{6ED93F10-AC45-4E07-B4ED-31336D2D2B36}"/>
    <dgm:cxn modelId="{7A2B8BDA-01A2-4E12-B81B-5B64B65AD5F2}" type="presOf" srcId="{970CBA58-F71B-4323-8F57-6F985B3D4DBC}" destId="{EBAA3094-1216-4988-91CC-B7C1967185AC}" srcOrd="1" destOrd="0" presId="urn:microsoft.com/office/officeart/2008/layout/HalfCircleOrganizationChart"/>
    <dgm:cxn modelId="{208309DB-47C1-45DF-8529-2F2BA7081403}" type="presOf" srcId="{34B084A5-A73E-4C2D-9BE4-6DA4F8E847A2}" destId="{D9560450-4285-49D8-9785-E7BABCFE5A26}" srcOrd="1" destOrd="0" presId="urn:microsoft.com/office/officeart/2008/layout/HalfCircleOrganizationChart"/>
    <dgm:cxn modelId="{1BBF2CDB-F296-429E-A105-77CB42DDABDE}" type="presOf" srcId="{060C64C6-09C8-4308-B932-2FAE08483251}" destId="{97CA699A-1A94-47E1-B5F4-4F1975DE0FCF}" srcOrd="0" destOrd="0" presId="urn:microsoft.com/office/officeart/2008/layout/HalfCircleOrganizationChart"/>
    <dgm:cxn modelId="{2837A9E4-58A2-4003-BADA-62F39588912C}" type="presOf" srcId="{A04C7B5D-C77B-4517-94E3-E33F9C2BB6E5}" destId="{3A6713B7-CB0B-49C4-934C-2E09F172A298}" srcOrd="0" destOrd="0" presId="urn:microsoft.com/office/officeart/2008/layout/HalfCircleOrganizationChart"/>
    <dgm:cxn modelId="{2944CFE4-EEFD-4C17-B5DA-00AF69A6DA37}" type="presOf" srcId="{EAF82922-FC0C-416C-A5C0-0C2B621FD4FB}" destId="{0547277F-D933-4350-811B-F0C0A68135D0}" srcOrd="1" destOrd="0" presId="urn:microsoft.com/office/officeart/2008/layout/HalfCircleOrganizationChart"/>
    <dgm:cxn modelId="{97F123E6-F1DB-4C1A-9754-61F5940523FD}" type="presOf" srcId="{04EE3C6A-7A57-473F-A9D3-7C08C0955ACB}" destId="{57FFA4BD-688F-41BC-B615-17F587C30FD5}" srcOrd="0" destOrd="0" presId="urn:microsoft.com/office/officeart/2008/layout/HalfCircleOrganizationChart"/>
    <dgm:cxn modelId="{F4C897EF-DE25-444E-881B-6762CE07F250}" type="presOf" srcId="{EF9120D2-3FBD-49A4-885C-B18B1C315A5F}" destId="{8116904A-5D55-4D1C-BC03-735E9EE7D038}" srcOrd="0" destOrd="0" presId="urn:microsoft.com/office/officeart/2008/layout/HalfCircleOrganizationChart"/>
    <dgm:cxn modelId="{2D3AF2F0-9F5C-43CF-93BC-9C6635162E5A}" type="presOf" srcId="{57D50F85-5066-4F2D-AEEA-7C812078D07A}" destId="{90BB7528-CBD4-4F63-A658-B7B4111947AE}" srcOrd="0" destOrd="0" presId="urn:microsoft.com/office/officeart/2008/layout/HalfCircleOrganizationChart"/>
    <dgm:cxn modelId="{EE1750F2-B0C0-4F5D-82B5-744531DDA3B8}" srcId="{DEA372BF-90AE-4A9A-B7ED-5FF7064ABE0A}" destId="{57D50F85-5066-4F2D-AEEA-7C812078D07A}" srcOrd="1" destOrd="0" parTransId="{60F1E342-2A58-4DBD-83F8-180785611606}" sibTransId="{79885508-C096-4C01-BD10-A42F7A695AE5}"/>
    <dgm:cxn modelId="{31C60EF4-CD38-460B-B120-D078BB617283}" type="presOf" srcId="{47A86A1A-E0DD-4CAA-AEB1-464123E9AE35}" destId="{32B18196-30B6-43C1-9EB1-3D50E4D7D9E5}" srcOrd="0" destOrd="0" presId="urn:microsoft.com/office/officeart/2008/layout/HalfCircleOrganizationChart"/>
    <dgm:cxn modelId="{3800C7F8-3FA6-4184-B396-74DC93DEE1A1}" srcId="{9CFE57A0-D5EB-4298-BF0A-032DEAE47C89}" destId="{DEA372BF-90AE-4A9A-B7ED-5FF7064ABE0A}" srcOrd="3" destOrd="0" parTransId="{CFA655EF-9041-4402-9A88-B1B797155263}" sibTransId="{DCF82148-055B-4A57-A731-D17BDC416DCA}"/>
    <dgm:cxn modelId="{E61614FB-0C5D-4FAF-BB46-DA810BFCEACD}" type="presOf" srcId="{A04C7B5D-C77B-4517-94E3-E33F9C2BB6E5}" destId="{6ACA419B-CBB4-4DE8-A9FA-B8967046DAAE}" srcOrd="1" destOrd="0" presId="urn:microsoft.com/office/officeart/2008/layout/HalfCircleOrganizationChart"/>
    <dgm:cxn modelId="{66B44EFE-EF58-4809-BD4A-E812FA8C66BE}" type="presOf" srcId="{47A86A1A-E0DD-4CAA-AEB1-464123E9AE35}" destId="{72753544-0646-4F65-9073-B32C75F5F752}" srcOrd="1" destOrd="0" presId="urn:microsoft.com/office/officeart/2008/layout/HalfCircleOrganizationChart"/>
    <dgm:cxn modelId="{C07281FE-E1FA-4F6F-82DF-6562E0085AE0}" srcId="{E6233824-91A3-417E-A6A8-8B20DE76D326}" destId="{0E9E549F-3920-46C6-B0D2-FDB3687AB785}" srcOrd="0" destOrd="0" parTransId="{EF9120D2-3FBD-49A4-885C-B18B1C315A5F}" sibTransId="{3F1F4CAF-554C-4F2E-B61C-1B8C7C16C2EB}"/>
    <dgm:cxn modelId="{56F73098-4BD8-469D-B12A-CA899AC7C4C0}" type="presParOf" srcId="{08DDA40A-8037-43EB-A349-C60CF6C76C19}" destId="{B2AAFAE1-7396-4050-AB53-1C215BCA1585}" srcOrd="0" destOrd="0" presId="urn:microsoft.com/office/officeart/2008/layout/HalfCircleOrganizationChart"/>
    <dgm:cxn modelId="{82D8975D-6A51-47D3-BC66-E219947BEAF7}" type="presParOf" srcId="{B2AAFAE1-7396-4050-AB53-1C215BCA1585}" destId="{A1672A94-2A29-4467-AACF-8F2FA9636B95}" srcOrd="0" destOrd="0" presId="urn:microsoft.com/office/officeart/2008/layout/HalfCircleOrganizationChart"/>
    <dgm:cxn modelId="{71F6C9DA-0972-4E3A-9C27-BB8C9CF35CD0}" type="presParOf" srcId="{A1672A94-2A29-4467-AACF-8F2FA9636B95}" destId="{D9366E7F-6A6E-41FA-A7C8-DE1EBAFF6B52}" srcOrd="0" destOrd="0" presId="urn:microsoft.com/office/officeart/2008/layout/HalfCircleOrganizationChart"/>
    <dgm:cxn modelId="{75AB35A3-FBDD-42CD-8E23-CBF70696038E}" type="presParOf" srcId="{A1672A94-2A29-4467-AACF-8F2FA9636B95}" destId="{1E9224A7-1545-4AC4-8579-9B93CEFF94F9}" srcOrd="1" destOrd="0" presId="urn:microsoft.com/office/officeart/2008/layout/HalfCircleOrganizationChart"/>
    <dgm:cxn modelId="{36C8937F-D9A8-4FBB-8570-353EADAD20B3}" type="presParOf" srcId="{A1672A94-2A29-4467-AACF-8F2FA9636B95}" destId="{AAADB1A9-BE65-4DF2-B639-BB0F7C111163}" srcOrd="2" destOrd="0" presId="urn:microsoft.com/office/officeart/2008/layout/HalfCircleOrganizationChart"/>
    <dgm:cxn modelId="{FD706415-A637-4488-8651-F41B264809AB}" type="presParOf" srcId="{A1672A94-2A29-4467-AACF-8F2FA9636B95}" destId="{504382BF-615E-44FE-B459-85C6F9118BF1}" srcOrd="3" destOrd="0" presId="urn:microsoft.com/office/officeart/2008/layout/HalfCircleOrganizationChart"/>
    <dgm:cxn modelId="{6A51394A-5B5C-42EF-8A4F-CBBF3C5B68CA}" type="presParOf" srcId="{B2AAFAE1-7396-4050-AB53-1C215BCA1585}" destId="{F5F01010-49C1-4374-8CAA-E04DA79B1924}" srcOrd="1" destOrd="0" presId="urn:microsoft.com/office/officeart/2008/layout/HalfCircleOrganizationChart"/>
    <dgm:cxn modelId="{0A6F2069-B998-4FF3-8803-80C2EA02EFCF}" type="presParOf" srcId="{F5F01010-49C1-4374-8CAA-E04DA79B1924}" destId="{E2E1E7C9-4917-4E9C-8339-745DEF43DCE9}" srcOrd="0" destOrd="0" presId="urn:microsoft.com/office/officeart/2008/layout/HalfCircleOrganizationChart"/>
    <dgm:cxn modelId="{C2A0BA32-3D71-4B46-A387-677CC0946F04}" type="presParOf" srcId="{F5F01010-49C1-4374-8CAA-E04DA79B1924}" destId="{02B3C89F-3F03-4DC6-A3C9-C4452C2C5FE0}" srcOrd="1" destOrd="0" presId="urn:microsoft.com/office/officeart/2008/layout/HalfCircleOrganizationChart"/>
    <dgm:cxn modelId="{95432EB1-1E97-4B0F-AA4D-918C0778041B}" type="presParOf" srcId="{02B3C89F-3F03-4DC6-A3C9-C4452C2C5FE0}" destId="{E33215B9-9848-49A8-8EBE-64E158630CA5}" srcOrd="0" destOrd="0" presId="urn:microsoft.com/office/officeart/2008/layout/HalfCircleOrganizationChart"/>
    <dgm:cxn modelId="{607B1669-525C-42E2-8F50-05C08E3C2C64}" type="presParOf" srcId="{E33215B9-9848-49A8-8EBE-64E158630CA5}" destId="{97CA699A-1A94-47E1-B5F4-4F1975DE0FCF}" srcOrd="0" destOrd="0" presId="urn:microsoft.com/office/officeart/2008/layout/HalfCircleOrganizationChart"/>
    <dgm:cxn modelId="{79C4C28E-A661-43E2-BCA6-57F1BD52A563}" type="presParOf" srcId="{E33215B9-9848-49A8-8EBE-64E158630CA5}" destId="{F953C57F-281A-4A94-911A-6FAC02AFAE83}" srcOrd="1" destOrd="0" presId="urn:microsoft.com/office/officeart/2008/layout/HalfCircleOrganizationChart"/>
    <dgm:cxn modelId="{7507C0DA-8BD3-4F4B-880B-DDA09E1AC700}" type="presParOf" srcId="{E33215B9-9848-49A8-8EBE-64E158630CA5}" destId="{1CD464EE-DCA7-4197-9B90-A976CF110C9F}" srcOrd="2" destOrd="0" presId="urn:microsoft.com/office/officeart/2008/layout/HalfCircleOrganizationChart"/>
    <dgm:cxn modelId="{122474D7-3657-4CDB-B631-92520B84D7E2}" type="presParOf" srcId="{E33215B9-9848-49A8-8EBE-64E158630CA5}" destId="{038D31BA-DFAA-4BC9-A341-CF94FF933E17}" srcOrd="3" destOrd="0" presId="urn:microsoft.com/office/officeart/2008/layout/HalfCircleOrganizationChart"/>
    <dgm:cxn modelId="{0AE2A6DE-3779-4266-8EA4-F85D4BE5A5EE}" type="presParOf" srcId="{02B3C89F-3F03-4DC6-A3C9-C4452C2C5FE0}" destId="{C6736307-A3DA-473C-9D51-9D9CBB84A06F}" srcOrd="1" destOrd="0" presId="urn:microsoft.com/office/officeart/2008/layout/HalfCircleOrganizationChart"/>
    <dgm:cxn modelId="{CEA04CF9-2F99-4D3F-9F77-CC3EFBB9CAD3}" type="presParOf" srcId="{02B3C89F-3F03-4DC6-A3C9-C4452C2C5FE0}" destId="{92BDF363-4D79-4CBB-A6DE-B58E8FF0BBC5}" srcOrd="2" destOrd="0" presId="urn:microsoft.com/office/officeart/2008/layout/HalfCircleOrganizationChart"/>
    <dgm:cxn modelId="{13627E0E-3CBA-4848-9270-A4F881014A76}" type="presParOf" srcId="{F5F01010-49C1-4374-8CAA-E04DA79B1924}" destId="{F41A39D9-DF4E-440E-9ED5-0F751B5F9057}" srcOrd="2" destOrd="0" presId="urn:microsoft.com/office/officeart/2008/layout/HalfCircleOrganizationChart"/>
    <dgm:cxn modelId="{A38122D4-B79F-4365-8839-F24235612691}" type="presParOf" srcId="{F5F01010-49C1-4374-8CAA-E04DA79B1924}" destId="{718E4796-761E-4368-8C3C-2AE134DD87E2}" srcOrd="3" destOrd="0" presId="urn:microsoft.com/office/officeart/2008/layout/HalfCircleOrganizationChart"/>
    <dgm:cxn modelId="{A4E0963E-B3D5-457D-A45C-ECDFBD6431E8}" type="presParOf" srcId="{718E4796-761E-4368-8C3C-2AE134DD87E2}" destId="{5BCEA3BF-B912-4D38-961E-01D7E9264E18}" srcOrd="0" destOrd="0" presId="urn:microsoft.com/office/officeart/2008/layout/HalfCircleOrganizationChart"/>
    <dgm:cxn modelId="{DD39A953-F54E-418E-9E4F-29E66524C422}" type="presParOf" srcId="{5BCEA3BF-B912-4D38-961E-01D7E9264E18}" destId="{7B88BA2E-7E15-48D5-92C0-12D4B29A658A}" srcOrd="0" destOrd="0" presId="urn:microsoft.com/office/officeart/2008/layout/HalfCircleOrganizationChart"/>
    <dgm:cxn modelId="{2B3EEFA8-E149-4BB8-8AC7-826E9D0361FC}" type="presParOf" srcId="{5BCEA3BF-B912-4D38-961E-01D7E9264E18}" destId="{995C14E7-8405-466C-B93A-2EF3CE026134}" srcOrd="1" destOrd="0" presId="urn:microsoft.com/office/officeart/2008/layout/HalfCircleOrganizationChart"/>
    <dgm:cxn modelId="{FD4EF994-2E12-45D0-B314-335762EC8E49}" type="presParOf" srcId="{5BCEA3BF-B912-4D38-961E-01D7E9264E18}" destId="{38908B38-86FD-4DCD-8D3F-DF53E56E083A}" srcOrd="2" destOrd="0" presId="urn:microsoft.com/office/officeart/2008/layout/HalfCircleOrganizationChart"/>
    <dgm:cxn modelId="{6220E639-7A2F-42EB-A63F-DE6F0BF84BCE}" type="presParOf" srcId="{5BCEA3BF-B912-4D38-961E-01D7E9264E18}" destId="{9E0965E1-D7F8-4154-A89F-DB515A0411C4}" srcOrd="3" destOrd="0" presId="urn:microsoft.com/office/officeart/2008/layout/HalfCircleOrganizationChart"/>
    <dgm:cxn modelId="{65E1A906-BBFA-431D-A4FE-BF6985307FC6}" type="presParOf" srcId="{718E4796-761E-4368-8C3C-2AE134DD87E2}" destId="{A6D83683-3B80-445D-9E11-D4FE175A2F70}" srcOrd="1" destOrd="0" presId="urn:microsoft.com/office/officeart/2008/layout/HalfCircleOrganizationChart"/>
    <dgm:cxn modelId="{3124B3B3-24A4-4321-904C-7465EFD97A39}" type="presParOf" srcId="{A6D83683-3B80-445D-9E11-D4FE175A2F70}" destId="{F9CAA90F-B10D-4491-B6DC-42E3E9A873C6}" srcOrd="0" destOrd="0" presId="urn:microsoft.com/office/officeart/2008/layout/HalfCircleOrganizationChart"/>
    <dgm:cxn modelId="{9D6E9ED3-D873-4852-BA65-BA855F09EB2F}" type="presParOf" srcId="{A6D83683-3B80-445D-9E11-D4FE175A2F70}" destId="{3E0955CD-AFFE-4688-B1B3-335668E27A00}" srcOrd="1" destOrd="0" presId="urn:microsoft.com/office/officeart/2008/layout/HalfCircleOrganizationChart"/>
    <dgm:cxn modelId="{D8654E9B-19AB-4033-A22F-BC75E643669A}" type="presParOf" srcId="{3E0955CD-AFFE-4688-B1B3-335668E27A00}" destId="{7FCEB613-F698-4E18-9212-72B8E3B824EB}" srcOrd="0" destOrd="0" presId="urn:microsoft.com/office/officeart/2008/layout/HalfCircleOrganizationChart"/>
    <dgm:cxn modelId="{B392AD89-1839-4D9E-B885-5DDC04F7A873}" type="presParOf" srcId="{7FCEB613-F698-4E18-9212-72B8E3B824EB}" destId="{5CCCFC77-723E-427E-B338-7E6F187A388F}" srcOrd="0" destOrd="0" presId="urn:microsoft.com/office/officeart/2008/layout/HalfCircleOrganizationChart"/>
    <dgm:cxn modelId="{1BAF7EFB-323F-4CCC-852B-1A10CEBF2717}" type="presParOf" srcId="{7FCEB613-F698-4E18-9212-72B8E3B824EB}" destId="{6217FC5F-5064-48D5-AB32-8FF1887B4E25}" srcOrd="1" destOrd="0" presId="urn:microsoft.com/office/officeart/2008/layout/HalfCircleOrganizationChart"/>
    <dgm:cxn modelId="{71349F16-0320-48D7-B709-E5E35D1BCD53}" type="presParOf" srcId="{7FCEB613-F698-4E18-9212-72B8E3B824EB}" destId="{ECCCBE76-9DF0-44F7-AE74-4CC7F8B64BF3}" srcOrd="2" destOrd="0" presId="urn:microsoft.com/office/officeart/2008/layout/HalfCircleOrganizationChart"/>
    <dgm:cxn modelId="{4CE96DE9-8ADA-4D1A-96F5-8CE26E253486}" type="presParOf" srcId="{7FCEB613-F698-4E18-9212-72B8E3B824EB}" destId="{04FC8767-D1E3-41B6-9EAA-60253D69643C}" srcOrd="3" destOrd="0" presId="urn:microsoft.com/office/officeart/2008/layout/HalfCircleOrganizationChart"/>
    <dgm:cxn modelId="{A8446E69-75F4-4AF7-871A-E008EEDDC516}" type="presParOf" srcId="{3E0955CD-AFFE-4688-B1B3-335668E27A00}" destId="{62BD7ADC-9604-4F8F-BBA6-A0CA2E6138F3}" srcOrd="1" destOrd="0" presId="urn:microsoft.com/office/officeart/2008/layout/HalfCircleOrganizationChart"/>
    <dgm:cxn modelId="{643902D5-A86A-4743-AA62-53429593FE2B}" type="presParOf" srcId="{62BD7ADC-9604-4F8F-BBA6-A0CA2E6138F3}" destId="{350714AE-A374-4101-9A2D-B44735231374}" srcOrd="0" destOrd="0" presId="urn:microsoft.com/office/officeart/2008/layout/HalfCircleOrganizationChart"/>
    <dgm:cxn modelId="{A5C3A27D-16A0-4B03-A75A-0E52864D735F}" type="presParOf" srcId="{62BD7ADC-9604-4F8F-BBA6-A0CA2E6138F3}" destId="{982B7632-182E-4346-9D67-546B31614E1A}" srcOrd="1" destOrd="0" presId="urn:microsoft.com/office/officeart/2008/layout/HalfCircleOrganizationChart"/>
    <dgm:cxn modelId="{25565820-0535-4FFD-9D21-761CD048A77A}" type="presParOf" srcId="{982B7632-182E-4346-9D67-546B31614E1A}" destId="{5C783B9B-7830-4113-B83E-C5C876A27A59}" srcOrd="0" destOrd="0" presId="urn:microsoft.com/office/officeart/2008/layout/HalfCircleOrganizationChart"/>
    <dgm:cxn modelId="{A263D293-611C-4AF3-A30F-3799D7727860}" type="presParOf" srcId="{5C783B9B-7830-4113-B83E-C5C876A27A59}" destId="{229175AE-4B39-44A8-A902-80C910CE344D}" srcOrd="0" destOrd="0" presId="urn:microsoft.com/office/officeart/2008/layout/HalfCircleOrganizationChart"/>
    <dgm:cxn modelId="{FCDA33C8-BA23-4A5C-BC64-142892FD1C4A}" type="presParOf" srcId="{5C783B9B-7830-4113-B83E-C5C876A27A59}" destId="{4FE317B6-F7FD-4646-8AE9-DA818C662145}" srcOrd="1" destOrd="0" presId="urn:microsoft.com/office/officeart/2008/layout/HalfCircleOrganizationChart"/>
    <dgm:cxn modelId="{FBBF84A3-537E-4BF1-AD55-1B5AF614979F}" type="presParOf" srcId="{5C783B9B-7830-4113-B83E-C5C876A27A59}" destId="{7F78F68C-CC1A-4046-97B3-6108A277B8AC}" srcOrd="2" destOrd="0" presId="urn:microsoft.com/office/officeart/2008/layout/HalfCircleOrganizationChart"/>
    <dgm:cxn modelId="{65EDB309-2EAA-474A-9456-3576ED071926}" type="presParOf" srcId="{5C783B9B-7830-4113-B83E-C5C876A27A59}" destId="{0547277F-D933-4350-811B-F0C0A68135D0}" srcOrd="3" destOrd="0" presId="urn:microsoft.com/office/officeart/2008/layout/HalfCircleOrganizationChart"/>
    <dgm:cxn modelId="{8E0FC03D-2848-4DE4-B2E5-61A4EF2CD689}" type="presParOf" srcId="{982B7632-182E-4346-9D67-546B31614E1A}" destId="{A6995B99-4294-46A3-99AF-93064A7D36B0}" srcOrd="1" destOrd="0" presId="urn:microsoft.com/office/officeart/2008/layout/HalfCircleOrganizationChart"/>
    <dgm:cxn modelId="{2B4C115C-73C1-4941-A363-3F22A8A5A383}" type="presParOf" srcId="{982B7632-182E-4346-9D67-546B31614E1A}" destId="{7EAB237E-98F6-4C0D-AD21-147FAEF921DF}" srcOrd="2" destOrd="0" presId="urn:microsoft.com/office/officeart/2008/layout/HalfCircleOrganizationChart"/>
    <dgm:cxn modelId="{D10CF8E4-8B55-4AC6-BCB1-07A12BF8AD02}" type="presParOf" srcId="{62BD7ADC-9604-4F8F-BBA6-A0CA2E6138F3}" destId="{36ECCC44-33A4-4CA1-A2AD-0BF0AB5E9B93}" srcOrd="2" destOrd="0" presId="urn:microsoft.com/office/officeart/2008/layout/HalfCircleOrganizationChart"/>
    <dgm:cxn modelId="{6D23DC7E-F90A-4A05-A574-EF1DD6B0F44A}" type="presParOf" srcId="{62BD7ADC-9604-4F8F-BBA6-A0CA2E6138F3}" destId="{923FE35E-42D2-4A82-9285-A7BCEBC02E07}" srcOrd="3" destOrd="0" presId="urn:microsoft.com/office/officeart/2008/layout/HalfCircleOrganizationChart"/>
    <dgm:cxn modelId="{EEDF189A-4EE0-4332-952A-FA13981C88DD}" type="presParOf" srcId="{923FE35E-42D2-4A82-9285-A7BCEBC02E07}" destId="{E043EC88-5306-4CD3-A88C-A8955F51CAE5}" srcOrd="0" destOrd="0" presId="urn:microsoft.com/office/officeart/2008/layout/HalfCircleOrganizationChart"/>
    <dgm:cxn modelId="{4B4BB4AB-C7D6-47A7-8FEA-6064D456B50C}" type="presParOf" srcId="{E043EC88-5306-4CD3-A88C-A8955F51CAE5}" destId="{8449AC6C-F545-4E48-B6B4-425CFC658D71}" srcOrd="0" destOrd="0" presId="urn:microsoft.com/office/officeart/2008/layout/HalfCircleOrganizationChart"/>
    <dgm:cxn modelId="{EEC3400C-61CF-4208-84DB-9FCEAAE3457A}" type="presParOf" srcId="{E043EC88-5306-4CD3-A88C-A8955F51CAE5}" destId="{7B937A49-0FC7-4E20-987D-989F9C2C0152}" srcOrd="1" destOrd="0" presId="urn:microsoft.com/office/officeart/2008/layout/HalfCircleOrganizationChart"/>
    <dgm:cxn modelId="{D6B18D30-14DB-4C89-94A4-3CA2C551F7A7}" type="presParOf" srcId="{E043EC88-5306-4CD3-A88C-A8955F51CAE5}" destId="{4729FAB0-C196-4FAF-90C6-AC8270CB3B2C}" srcOrd="2" destOrd="0" presId="urn:microsoft.com/office/officeart/2008/layout/HalfCircleOrganizationChart"/>
    <dgm:cxn modelId="{C4A323C9-75FC-4C32-97DD-699365649A01}" type="presParOf" srcId="{E043EC88-5306-4CD3-A88C-A8955F51CAE5}" destId="{CBD740CE-3B5C-4AAC-A022-08DD878EE574}" srcOrd="3" destOrd="0" presId="urn:microsoft.com/office/officeart/2008/layout/HalfCircleOrganizationChart"/>
    <dgm:cxn modelId="{39434DEF-6B78-4B57-AE3E-8D9B17E4DA90}" type="presParOf" srcId="{923FE35E-42D2-4A82-9285-A7BCEBC02E07}" destId="{0D4F8859-7D4E-4960-A64D-D5FD3CC11448}" srcOrd="1" destOrd="0" presId="urn:microsoft.com/office/officeart/2008/layout/HalfCircleOrganizationChart"/>
    <dgm:cxn modelId="{74B07AB7-BA5B-49DB-9DFC-31501EEC92A1}" type="presParOf" srcId="{923FE35E-42D2-4A82-9285-A7BCEBC02E07}" destId="{13BFB8B4-CE44-4289-86F6-DBBE0EEF28BE}" srcOrd="2" destOrd="0" presId="urn:microsoft.com/office/officeart/2008/layout/HalfCircleOrganizationChart"/>
    <dgm:cxn modelId="{4983F658-2B74-4F04-A4CF-10827B4FA067}" type="presParOf" srcId="{3E0955CD-AFFE-4688-B1B3-335668E27A00}" destId="{5F833679-5F94-40B9-8797-59419451B1C5}" srcOrd="2" destOrd="0" presId="urn:microsoft.com/office/officeart/2008/layout/HalfCircleOrganizationChart"/>
    <dgm:cxn modelId="{32CA5E2F-F5FB-49D0-93F7-2FD1D7472529}" type="presParOf" srcId="{A6D83683-3B80-445D-9E11-D4FE175A2F70}" destId="{CF740B0E-601A-4F7A-A458-97DFD17CB6B5}" srcOrd="2" destOrd="0" presId="urn:microsoft.com/office/officeart/2008/layout/HalfCircleOrganizationChart"/>
    <dgm:cxn modelId="{C22DC947-D504-4447-82A6-AD495117330C}" type="presParOf" srcId="{A6D83683-3B80-445D-9E11-D4FE175A2F70}" destId="{8F898A1A-7958-4FBB-A223-DD2B093729B4}" srcOrd="3" destOrd="0" presId="urn:microsoft.com/office/officeart/2008/layout/HalfCircleOrganizationChart"/>
    <dgm:cxn modelId="{C1A418AA-4AAA-4E32-9062-5AC7E4D412A0}" type="presParOf" srcId="{8F898A1A-7958-4FBB-A223-DD2B093729B4}" destId="{362A6839-F8A9-4E4A-BEB3-F9EDFE5C2479}" srcOrd="0" destOrd="0" presId="urn:microsoft.com/office/officeart/2008/layout/HalfCircleOrganizationChart"/>
    <dgm:cxn modelId="{B7CA64D0-5057-4374-8C66-E04D386C6160}" type="presParOf" srcId="{362A6839-F8A9-4E4A-BEB3-F9EDFE5C2479}" destId="{809B8C55-F589-4FA5-9EA4-4FFD2B6B781C}" srcOrd="0" destOrd="0" presId="urn:microsoft.com/office/officeart/2008/layout/HalfCircleOrganizationChart"/>
    <dgm:cxn modelId="{1B008ADC-4B27-404D-B187-628B01A708BA}" type="presParOf" srcId="{362A6839-F8A9-4E4A-BEB3-F9EDFE5C2479}" destId="{81CA8E44-B2F1-4CE4-A652-4984C02CDF02}" srcOrd="1" destOrd="0" presId="urn:microsoft.com/office/officeart/2008/layout/HalfCircleOrganizationChart"/>
    <dgm:cxn modelId="{1FDE829A-76BA-4201-A361-16C0C962C26D}" type="presParOf" srcId="{362A6839-F8A9-4E4A-BEB3-F9EDFE5C2479}" destId="{D314EC38-9305-4CAD-A67B-C3E3AD28B96B}" srcOrd="2" destOrd="0" presId="urn:microsoft.com/office/officeart/2008/layout/HalfCircleOrganizationChart"/>
    <dgm:cxn modelId="{E1A07546-808D-4244-85AB-665A143049B1}" type="presParOf" srcId="{362A6839-F8A9-4E4A-BEB3-F9EDFE5C2479}" destId="{766C2DBD-456E-48E6-BEAA-BBFB63E4B8AD}" srcOrd="3" destOrd="0" presId="urn:microsoft.com/office/officeart/2008/layout/HalfCircleOrganizationChart"/>
    <dgm:cxn modelId="{BEB3A888-16A5-49BC-9498-CB6C107507A2}" type="presParOf" srcId="{8F898A1A-7958-4FBB-A223-DD2B093729B4}" destId="{0E89CC40-79EF-49BC-BB43-19705F982559}" srcOrd="1" destOrd="0" presId="urn:microsoft.com/office/officeart/2008/layout/HalfCircleOrganizationChart"/>
    <dgm:cxn modelId="{401B2F4F-8F35-4406-80FE-95270E6F5A77}" type="presParOf" srcId="{0E89CC40-79EF-49BC-BB43-19705F982559}" destId="{EE6E3EB4-9ABE-4F8A-A22C-4D4E72CA575A}" srcOrd="0" destOrd="0" presId="urn:microsoft.com/office/officeart/2008/layout/HalfCircleOrganizationChart"/>
    <dgm:cxn modelId="{5C2D4023-69A9-4E95-9D0E-980FC9D0CD75}" type="presParOf" srcId="{0E89CC40-79EF-49BC-BB43-19705F982559}" destId="{13F49258-6D68-4504-A5FF-EF480A114008}" srcOrd="1" destOrd="0" presId="urn:microsoft.com/office/officeart/2008/layout/HalfCircleOrganizationChart"/>
    <dgm:cxn modelId="{C4C8C202-5A43-4CB6-82FD-ACD04CEC8202}" type="presParOf" srcId="{13F49258-6D68-4504-A5FF-EF480A114008}" destId="{09DD5F4C-0C49-4BD1-88BD-652702BD2022}" srcOrd="0" destOrd="0" presId="urn:microsoft.com/office/officeart/2008/layout/HalfCircleOrganizationChart"/>
    <dgm:cxn modelId="{707ADA17-B751-4387-869D-9C39DE6BC269}" type="presParOf" srcId="{09DD5F4C-0C49-4BD1-88BD-652702BD2022}" destId="{76143FFA-F6E3-4072-BF54-7AADD1946B3B}" srcOrd="0" destOrd="0" presId="urn:microsoft.com/office/officeart/2008/layout/HalfCircleOrganizationChart"/>
    <dgm:cxn modelId="{9B9B7402-AE02-448B-979D-FEF855D81DEA}" type="presParOf" srcId="{09DD5F4C-0C49-4BD1-88BD-652702BD2022}" destId="{4A3DF27A-EB5C-4281-8836-9EB4D98F12EE}" srcOrd="1" destOrd="0" presId="urn:microsoft.com/office/officeart/2008/layout/HalfCircleOrganizationChart"/>
    <dgm:cxn modelId="{A77E4B8F-752B-4899-BF4F-0B100118813E}" type="presParOf" srcId="{09DD5F4C-0C49-4BD1-88BD-652702BD2022}" destId="{F0507202-652E-4F31-81F6-4BC5538EEC45}" srcOrd="2" destOrd="0" presId="urn:microsoft.com/office/officeart/2008/layout/HalfCircleOrganizationChart"/>
    <dgm:cxn modelId="{865173B7-14DA-49C0-A4F5-908681D4EC19}" type="presParOf" srcId="{09DD5F4C-0C49-4BD1-88BD-652702BD2022}" destId="{E8A5070C-6021-42B1-AD5B-34961A2C929C}" srcOrd="3" destOrd="0" presId="urn:microsoft.com/office/officeart/2008/layout/HalfCircleOrganizationChart"/>
    <dgm:cxn modelId="{B6ACB70B-274E-44A3-BD65-FDE7870CA9ED}" type="presParOf" srcId="{13F49258-6D68-4504-A5FF-EF480A114008}" destId="{CE060031-4FF1-4DDE-B03F-9736A9C310FA}" srcOrd="1" destOrd="0" presId="urn:microsoft.com/office/officeart/2008/layout/HalfCircleOrganizationChart"/>
    <dgm:cxn modelId="{964C29B9-FDD8-4699-BE20-B075F240D765}" type="presParOf" srcId="{13F49258-6D68-4504-A5FF-EF480A114008}" destId="{8108F58B-8F60-444D-AE5B-3A15B76CBCF4}" srcOrd="2" destOrd="0" presId="urn:microsoft.com/office/officeart/2008/layout/HalfCircleOrganizationChart"/>
    <dgm:cxn modelId="{D9F6F95F-E063-4329-AA62-79FF7B896402}" type="presParOf" srcId="{0E89CC40-79EF-49BC-BB43-19705F982559}" destId="{D6A2D432-B58E-40C1-9A82-A27476AD2F7E}" srcOrd="2" destOrd="0" presId="urn:microsoft.com/office/officeart/2008/layout/HalfCircleOrganizationChart"/>
    <dgm:cxn modelId="{B3724A24-BAB5-4E63-B613-3E50EDD64177}" type="presParOf" srcId="{0E89CC40-79EF-49BC-BB43-19705F982559}" destId="{F76D7A86-DFF3-44CC-8F4D-1E55300FAC60}" srcOrd="3" destOrd="0" presId="urn:microsoft.com/office/officeart/2008/layout/HalfCircleOrganizationChart"/>
    <dgm:cxn modelId="{F96F1E0E-451C-4E03-87DC-7D3E3917716F}" type="presParOf" srcId="{F76D7A86-DFF3-44CC-8F4D-1E55300FAC60}" destId="{D4EBE7D9-4265-49A6-992C-EC09D5E68472}" srcOrd="0" destOrd="0" presId="urn:microsoft.com/office/officeart/2008/layout/HalfCircleOrganizationChart"/>
    <dgm:cxn modelId="{4DB9273E-FAB1-4D5B-B681-C5BF825CD3C2}" type="presParOf" srcId="{D4EBE7D9-4265-49A6-992C-EC09D5E68472}" destId="{AD935055-3BD8-419E-9707-01D97E48D997}" srcOrd="0" destOrd="0" presId="urn:microsoft.com/office/officeart/2008/layout/HalfCircleOrganizationChart"/>
    <dgm:cxn modelId="{8AE5D1B6-D6E3-4A77-A62E-6E8BB5EA83B7}" type="presParOf" srcId="{D4EBE7D9-4265-49A6-992C-EC09D5E68472}" destId="{F2401BFE-862A-44D7-94B5-9F63E3DCF580}" srcOrd="1" destOrd="0" presId="urn:microsoft.com/office/officeart/2008/layout/HalfCircleOrganizationChart"/>
    <dgm:cxn modelId="{CDF27D2F-57FF-4968-961A-AE1EE01616A3}" type="presParOf" srcId="{D4EBE7D9-4265-49A6-992C-EC09D5E68472}" destId="{8763FEDE-2533-4DD0-93D4-070E760BABAC}" srcOrd="2" destOrd="0" presId="urn:microsoft.com/office/officeart/2008/layout/HalfCircleOrganizationChart"/>
    <dgm:cxn modelId="{ED107AC0-7863-4745-8034-B47F64AA7E19}" type="presParOf" srcId="{D4EBE7D9-4265-49A6-992C-EC09D5E68472}" destId="{D635CE07-5981-42E0-BA23-587EE54041A6}" srcOrd="3" destOrd="0" presId="urn:microsoft.com/office/officeart/2008/layout/HalfCircleOrganizationChart"/>
    <dgm:cxn modelId="{F9EE67BF-DC96-40C2-87C5-C75573B84AD8}" type="presParOf" srcId="{F76D7A86-DFF3-44CC-8F4D-1E55300FAC60}" destId="{A7328BF8-6A29-46EC-8C8A-B4B1A39858E3}" srcOrd="1" destOrd="0" presId="urn:microsoft.com/office/officeart/2008/layout/HalfCircleOrganizationChart"/>
    <dgm:cxn modelId="{C65C652B-F0A9-4179-A522-4DC8B37F5A06}" type="presParOf" srcId="{A7328BF8-6A29-46EC-8C8A-B4B1A39858E3}" destId="{D61B8DF3-62A7-41F3-82E2-B6A4D974E7AF}" srcOrd="0" destOrd="0" presId="urn:microsoft.com/office/officeart/2008/layout/HalfCircleOrganizationChart"/>
    <dgm:cxn modelId="{1EA94B45-DFB3-4C9A-8F79-6463FCFB4610}" type="presParOf" srcId="{A7328BF8-6A29-46EC-8C8A-B4B1A39858E3}" destId="{711ADFC5-C42D-4836-AF19-3CC5BB8B49C1}" srcOrd="1" destOrd="0" presId="urn:microsoft.com/office/officeart/2008/layout/HalfCircleOrganizationChart"/>
    <dgm:cxn modelId="{BC71B227-0694-45B9-B5EC-A1DFCDEFCB43}" type="presParOf" srcId="{711ADFC5-C42D-4836-AF19-3CC5BB8B49C1}" destId="{7CDD84D8-FEAB-457B-81CF-37DD5EAA57FC}" srcOrd="0" destOrd="0" presId="urn:microsoft.com/office/officeart/2008/layout/HalfCircleOrganizationChart"/>
    <dgm:cxn modelId="{B000B85F-7AE2-4669-ADA3-6FE2A887CC83}" type="presParOf" srcId="{7CDD84D8-FEAB-457B-81CF-37DD5EAA57FC}" destId="{053DA5B7-6108-45C6-BF0A-F837833E157D}" srcOrd="0" destOrd="0" presId="urn:microsoft.com/office/officeart/2008/layout/HalfCircleOrganizationChart"/>
    <dgm:cxn modelId="{AC9C2D28-30C6-4D7A-8DBE-6864FEF45C61}" type="presParOf" srcId="{7CDD84D8-FEAB-457B-81CF-37DD5EAA57FC}" destId="{7D03D7EC-7564-43F6-9CE7-CF5CFF0DAA28}" srcOrd="1" destOrd="0" presId="urn:microsoft.com/office/officeart/2008/layout/HalfCircleOrganizationChart"/>
    <dgm:cxn modelId="{AF30C000-1B6E-4EBC-BA83-2EC72CED93C9}" type="presParOf" srcId="{7CDD84D8-FEAB-457B-81CF-37DD5EAA57FC}" destId="{2386EAD0-82BB-4699-B9C2-F8120412E4B5}" srcOrd="2" destOrd="0" presId="urn:microsoft.com/office/officeart/2008/layout/HalfCircleOrganizationChart"/>
    <dgm:cxn modelId="{B4C556AB-8E95-45EE-BB0C-E00E493D1813}" type="presParOf" srcId="{7CDD84D8-FEAB-457B-81CF-37DD5EAA57FC}" destId="{4A7AA261-A199-4E49-BF57-AB094F895424}" srcOrd="3" destOrd="0" presId="urn:microsoft.com/office/officeart/2008/layout/HalfCircleOrganizationChart"/>
    <dgm:cxn modelId="{ECCC4CF4-FBA8-4B26-8F5E-664ABED5D0E2}" type="presParOf" srcId="{711ADFC5-C42D-4836-AF19-3CC5BB8B49C1}" destId="{337685D4-D091-462E-AE2A-319C41D69AFA}" srcOrd="1" destOrd="0" presId="urn:microsoft.com/office/officeart/2008/layout/HalfCircleOrganizationChart"/>
    <dgm:cxn modelId="{A691A148-AC79-4939-A757-75435AB96D6C}" type="presParOf" srcId="{337685D4-D091-462E-AE2A-319C41D69AFA}" destId="{6CEB7884-99F7-451B-829C-4BD11BB29DA5}" srcOrd="0" destOrd="0" presId="urn:microsoft.com/office/officeart/2008/layout/HalfCircleOrganizationChart"/>
    <dgm:cxn modelId="{276E20A0-9BF4-43B4-B8FF-DE8942A98C2C}" type="presParOf" srcId="{337685D4-D091-462E-AE2A-319C41D69AFA}" destId="{10B48FBB-A7DC-47B1-A15C-E2BCCE9A8E0F}" srcOrd="1" destOrd="0" presId="urn:microsoft.com/office/officeart/2008/layout/HalfCircleOrganizationChart"/>
    <dgm:cxn modelId="{0024CD58-836F-4992-B21E-0FF7DE0872C1}" type="presParOf" srcId="{10B48FBB-A7DC-47B1-A15C-E2BCCE9A8E0F}" destId="{6A1AD796-7E75-4BF4-8AD0-2A801C9E247E}" srcOrd="0" destOrd="0" presId="urn:microsoft.com/office/officeart/2008/layout/HalfCircleOrganizationChart"/>
    <dgm:cxn modelId="{93CD4A7B-9DD9-4BA6-908D-B01142537E0D}" type="presParOf" srcId="{6A1AD796-7E75-4BF4-8AD0-2A801C9E247E}" destId="{8D3BD8AF-F9F6-4BDD-A6BE-0F76BE37B178}" srcOrd="0" destOrd="0" presId="urn:microsoft.com/office/officeart/2008/layout/HalfCircleOrganizationChart"/>
    <dgm:cxn modelId="{226F8D3A-22F8-466B-B9BC-28DED0B2303E}" type="presParOf" srcId="{6A1AD796-7E75-4BF4-8AD0-2A801C9E247E}" destId="{9931BC70-64F1-4F23-BBBB-4D92896B9430}" srcOrd="1" destOrd="0" presId="urn:microsoft.com/office/officeart/2008/layout/HalfCircleOrganizationChart"/>
    <dgm:cxn modelId="{1FCD7D12-29BE-4FCC-A25E-0CF039BBB3FD}" type="presParOf" srcId="{6A1AD796-7E75-4BF4-8AD0-2A801C9E247E}" destId="{6A613793-196D-4EC0-9808-F1C8509D4781}" srcOrd="2" destOrd="0" presId="urn:microsoft.com/office/officeart/2008/layout/HalfCircleOrganizationChart"/>
    <dgm:cxn modelId="{81E25650-1A76-4B8E-ACFE-302331F4D9D4}" type="presParOf" srcId="{6A1AD796-7E75-4BF4-8AD0-2A801C9E247E}" destId="{F6467762-CBC9-4A01-9C07-4A9B3B4CF849}" srcOrd="3" destOrd="0" presId="urn:microsoft.com/office/officeart/2008/layout/HalfCircleOrganizationChart"/>
    <dgm:cxn modelId="{46935DD3-B20E-4069-BF43-890FB845CC8F}" type="presParOf" srcId="{10B48FBB-A7DC-47B1-A15C-E2BCCE9A8E0F}" destId="{7D1A469A-0B6F-4AF6-88B2-332337937BBF}" srcOrd="1" destOrd="0" presId="urn:microsoft.com/office/officeart/2008/layout/HalfCircleOrganizationChart"/>
    <dgm:cxn modelId="{42AA7FB2-3E6C-4F63-93D9-83D6D1F604F4}" type="presParOf" srcId="{7D1A469A-0B6F-4AF6-88B2-332337937BBF}" destId="{8116904A-5D55-4D1C-BC03-735E9EE7D038}" srcOrd="0" destOrd="0" presId="urn:microsoft.com/office/officeart/2008/layout/HalfCircleOrganizationChart"/>
    <dgm:cxn modelId="{E54EDB58-8CDA-4C70-B3EC-A11CA86CFC45}" type="presParOf" srcId="{7D1A469A-0B6F-4AF6-88B2-332337937BBF}" destId="{91EB5089-23F7-4FD2-B1FC-D62448A4E805}" srcOrd="1" destOrd="0" presId="urn:microsoft.com/office/officeart/2008/layout/HalfCircleOrganizationChart"/>
    <dgm:cxn modelId="{19D8DF7B-641A-405B-B780-27724E9106BD}" type="presParOf" srcId="{91EB5089-23F7-4FD2-B1FC-D62448A4E805}" destId="{85111E11-2508-4D89-A10D-A4906FD10A47}" srcOrd="0" destOrd="0" presId="urn:microsoft.com/office/officeart/2008/layout/HalfCircleOrganizationChart"/>
    <dgm:cxn modelId="{7A2E3BEC-FF58-4908-A450-B7415C8BA60A}" type="presParOf" srcId="{85111E11-2508-4D89-A10D-A4906FD10A47}" destId="{0ADF5DBA-6C53-4566-8611-22A0B4A4A1A3}" srcOrd="0" destOrd="0" presId="urn:microsoft.com/office/officeart/2008/layout/HalfCircleOrganizationChart"/>
    <dgm:cxn modelId="{4A1AC4BE-1B3E-4379-A756-5ADD4F220AB8}" type="presParOf" srcId="{85111E11-2508-4D89-A10D-A4906FD10A47}" destId="{BBEFA44D-6107-460C-B6BE-85DC1F7781A8}" srcOrd="1" destOrd="0" presId="urn:microsoft.com/office/officeart/2008/layout/HalfCircleOrganizationChart"/>
    <dgm:cxn modelId="{406202D8-12D2-4E1B-8433-28E31059B4D3}" type="presParOf" srcId="{85111E11-2508-4D89-A10D-A4906FD10A47}" destId="{B399396E-7E4C-4B18-88EA-B4E053015215}" srcOrd="2" destOrd="0" presId="urn:microsoft.com/office/officeart/2008/layout/HalfCircleOrganizationChart"/>
    <dgm:cxn modelId="{457FA2A7-23D9-464F-82F2-C6C841520433}" type="presParOf" srcId="{85111E11-2508-4D89-A10D-A4906FD10A47}" destId="{F083815D-1D3D-4F52-B0EF-BF9C648C9253}" srcOrd="3" destOrd="0" presId="urn:microsoft.com/office/officeart/2008/layout/HalfCircleOrganizationChart"/>
    <dgm:cxn modelId="{5507C7B9-B12E-42A3-B558-9FC96DCAA4AC}" type="presParOf" srcId="{91EB5089-23F7-4FD2-B1FC-D62448A4E805}" destId="{34188366-009A-4265-9319-288F146065BB}" srcOrd="1" destOrd="0" presId="urn:microsoft.com/office/officeart/2008/layout/HalfCircleOrganizationChart"/>
    <dgm:cxn modelId="{12BD08FE-ABC4-45C7-957F-CDA06E985C7E}" type="presParOf" srcId="{34188366-009A-4265-9319-288F146065BB}" destId="{E570DCCE-18F5-4E59-B6A4-6A51F09F8AEF}" srcOrd="0" destOrd="0" presId="urn:microsoft.com/office/officeart/2008/layout/HalfCircleOrganizationChart"/>
    <dgm:cxn modelId="{029892BA-4E06-427D-84FB-CB4CFD76E316}" type="presParOf" srcId="{34188366-009A-4265-9319-288F146065BB}" destId="{E673D1FE-6136-4194-AF0A-99DC817608F1}" srcOrd="1" destOrd="0" presId="urn:microsoft.com/office/officeart/2008/layout/HalfCircleOrganizationChart"/>
    <dgm:cxn modelId="{3EB29E72-966C-4048-9890-FEC03A7B2CDA}" type="presParOf" srcId="{E673D1FE-6136-4194-AF0A-99DC817608F1}" destId="{1BBE9A92-6F1C-4836-A09A-5CC2C61DAF8D}" srcOrd="0" destOrd="0" presId="urn:microsoft.com/office/officeart/2008/layout/HalfCircleOrganizationChart"/>
    <dgm:cxn modelId="{E7168947-A25F-4234-9111-0183FF103D3F}" type="presParOf" srcId="{1BBE9A92-6F1C-4836-A09A-5CC2C61DAF8D}" destId="{8BCBEB7F-11B8-4EE8-A527-6CBCE70CB7F1}" srcOrd="0" destOrd="0" presId="urn:microsoft.com/office/officeart/2008/layout/HalfCircleOrganizationChart"/>
    <dgm:cxn modelId="{584AF8BC-A410-4855-9C87-DE97CECE4BC7}" type="presParOf" srcId="{1BBE9A92-6F1C-4836-A09A-5CC2C61DAF8D}" destId="{C7E8D8A4-4CAD-49E0-98B5-12FE39DFEDCE}" srcOrd="1" destOrd="0" presId="urn:microsoft.com/office/officeart/2008/layout/HalfCircleOrganizationChart"/>
    <dgm:cxn modelId="{28E24FB6-50E7-4A5D-A537-71A81825756C}" type="presParOf" srcId="{1BBE9A92-6F1C-4836-A09A-5CC2C61DAF8D}" destId="{78B325F8-571A-43CD-9B99-8EA7C3CD5EF6}" srcOrd="2" destOrd="0" presId="urn:microsoft.com/office/officeart/2008/layout/HalfCircleOrganizationChart"/>
    <dgm:cxn modelId="{FB5F4252-7D4F-4B00-BA5E-2039060DE3A4}" type="presParOf" srcId="{1BBE9A92-6F1C-4836-A09A-5CC2C61DAF8D}" destId="{EBAA3094-1216-4988-91CC-B7C1967185AC}" srcOrd="3" destOrd="0" presId="urn:microsoft.com/office/officeart/2008/layout/HalfCircleOrganizationChart"/>
    <dgm:cxn modelId="{69E5F76E-DCCF-4DD1-9314-65BFE9896943}" type="presParOf" srcId="{E673D1FE-6136-4194-AF0A-99DC817608F1}" destId="{CE23B626-6CA5-4E08-9C2D-525594824ACF}" srcOrd="1" destOrd="0" presId="urn:microsoft.com/office/officeart/2008/layout/HalfCircleOrganizationChart"/>
    <dgm:cxn modelId="{EC57C5DB-C176-4B4B-AD87-F664CBEF9AC9}" type="presParOf" srcId="{E673D1FE-6136-4194-AF0A-99DC817608F1}" destId="{DC7582A2-39BF-493E-9BFF-F53246C95CD5}" srcOrd="2" destOrd="0" presId="urn:microsoft.com/office/officeart/2008/layout/HalfCircleOrganizationChart"/>
    <dgm:cxn modelId="{1D246311-2D5B-49FF-A1BA-8A42A89E4798}" type="presParOf" srcId="{34188366-009A-4265-9319-288F146065BB}" destId="{8EDD9516-EBED-46A4-80AD-96B95706D9AE}" srcOrd="2" destOrd="0" presId="urn:microsoft.com/office/officeart/2008/layout/HalfCircleOrganizationChart"/>
    <dgm:cxn modelId="{19A5BB71-03EB-4A1E-BA6B-25C3E43E2269}" type="presParOf" srcId="{34188366-009A-4265-9319-288F146065BB}" destId="{7332369D-1EED-4874-9FD2-1BF38F7A869C}" srcOrd="3" destOrd="0" presId="urn:microsoft.com/office/officeart/2008/layout/HalfCircleOrganizationChart"/>
    <dgm:cxn modelId="{5264ACF6-D918-448C-8A91-2A57B6BB091A}" type="presParOf" srcId="{7332369D-1EED-4874-9FD2-1BF38F7A869C}" destId="{E326D2C7-BBEC-46C5-A0E1-3B7C529F5AFB}" srcOrd="0" destOrd="0" presId="urn:microsoft.com/office/officeart/2008/layout/HalfCircleOrganizationChart"/>
    <dgm:cxn modelId="{C5E4898A-3ADD-40F0-917E-C13F85D1A853}" type="presParOf" srcId="{E326D2C7-BBEC-46C5-A0E1-3B7C529F5AFB}" destId="{BF8153EE-DFD2-4CB9-9A36-36158312123E}" srcOrd="0" destOrd="0" presId="urn:microsoft.com/office/officeart/2008/layout/HalfCircleOrganizationChart"/>
    <dgm:cxn modelId="{AC411B88-0F6A-4002-813F-6A6528A4D1FA}" type="presParOf" srcId="{E326D2C7-BBEC-46C5-A0E1-3B7C529F5AFB}" destId="{EE39BE0D-4566-4AD0-9527-7ADA09B07E1D}" srcOrd="1" destOrd="0" presId="urn:microsoft.com/office/officeart/2008/layout/HalfCircleOrganizationChart"/>
    <dgm:cxn modelId="{7AB9BD02-8DA0-4FF0-8DA4-2B47234F51A8}" type="presParOf" srcId="{E326D2C7-BBEC-46C5-A0E1-3B7C529F5AFB}" destId="{2F63627B-8A37-4CC6-A37A-10F308791174}" srcOrd="2" destOrd="0" presId="urn:microsoft.com/office/officeart/2008/layout/HalfCircleOrganizationChart"/>
    <dgm:cxn modelId="{D9929985-4807-4E70-8396-02E5578816AC}" type="presParOf" srcId="{E326D2C7-BBEC-46C5-A0E1-3B7C529F5AFB}" destId="{4DB59FC2-AA07-4326-A2F5-C2521347B338}" srcOrd="3" destOrd="0" presId="urn:microsoft.com/office/officeart/2008/layout/HalfCircleOrganizationChart"/>
    <dgm:cxn modelId="{7754D1F6-10EE-416C-8184-BDF54C8C03DE}" type="presParOf" srcId="{7332369D-1EED-4874-9FD2-1BF38F7A869C}" destId="{DF476522-CB26-47F7-A715-BE7FA8A82C0E}" srcOrd="1" destOrd="0" presId="urn:microsoft.com/office/officeart/2008/layout/HalfCircleOrganizationChart"/>
    <dgm:cxn modelId="{8E2DA7C5-9331-490D-B325-264F69B2786C}" type="presParOf" srcId="{7332369D-1EED-4874-9FD2-1BF38F7A869C}" destId="{5C475AB6-E77F-42C4-9901-DA2BE3FA4B67}" srcOrd="2" destOrd="0" presId="urn:microsoft.com/office/officeart/2008/layout/HalfCircleOrganizationChart"/>
    <dgm:cxn modelId="{AE1CB6BE-8875-4472-B320-D080C87E8B22}" type="presParOf" srcId="{91EB5089-23F7-4FD2-B1FC-D62448A4E805}" destId="{4E87B809-AC04-44FD-B694-A80CE2E51329}" srcOrd="2" destOrd="0" presId="urn:microsoft.com/office/officeart/2008/layout/HalfCircleOrganizationChart"/>
    <dgm:cxn modelId="{A09F3306-3EB0-4EDE-97E6-DE573C9CD517}" type="presParOf" srcId="{10B48FBB-A7DC-47B1-A15C-E2BCCE9A8E0F}" destId="{5D21C66E-0B15-4380-B80A-0A180A595C14}" srcOrd="2" destOrd="0" presId="urn:microsoft.com/office/officeart/2008/layout/HalfCircleOrganizationChart"/>
    <dgm:cxn modelId="{98D78D27-8F22-4B36-80CC-637D3AC3B0DD}" type="presParOf" srcId="{711ADFC5-C42D-4836-AF19-3CC5BB8B49C1}" destId="{979C3233-178F-4ACC-9636-14947F1AE682}" srcOrd="2" destOrd="0" presId="urn:microsoft.com/office/officeart/2008/layout/HalfCircleOrganizationChart"/>
    <dgm:cxn modelId="{67A92EAE-98D8-4DFA-AA71-0B38EF1237A3}" type="presParOf" srcId="{F76D7A86-DFF3-44CC-8F4D-1E55300FAC60}" destId="{0D98BF24-5715-49C4-8290-AB990788E6FE}" srcOrd="2" destOrd="0" presId="urn:microsoft.com/office/officeart/2008/layout/HalfCircleOrganizationChart"/>
    <dgm:cxn modelId="{B0E6B202-8AD0-4687-9CEC-7ADFB74D6345}" type="presParOf" srcId="{0E89CC40-79EF-49BC-BB43-19705F982559}" destId="{C712E6BC-7FD1-4055-AE05-0AC0879727E8}" srcOrd="4" destOrd="0" presId="urn:microsoft.com/office/officeart/2008/layout/HalfCircleOrganizationChart"/>
    <dgm:cxn modelId="{559620F4-5B42-44F8-A785-3E9C9B97CB69}" type="presParOf" srcId="{0E89CC40-79EF-49BC-BB43-19705F982559}" destId="{F58A52D6-8E7C-4BF1-8882-E51CB7395A2A}" srcOrd="5" destOrd="0" presId="urn:microsoft.com/office/officeart/2008/layout/HalfCircleOrganizationChart"/>
    <dgm:cxn modelId="{A14A40EF-AEB6-428C-9C61-F998872FD632}" type="presParOf" srcId="{F58A52D6-8E7C-4BF1-8882-E51CB7395A2A}" destId="{0ACEF32B-13AF-4BDF-8113-9D7E91DF7C1A}" srcOrd="0" destOrd="0" presId="urn:microsoft.com/office/officeart/2008/layout/HalfCircleOrganizationChart"/>
    <dgm:cxn modelId="{B2145671-566E-4D94-BE31-8F0F1CA4F5B5}" type="presParOf" srcId="{0ACEF32B-13AF-4BDF-8113-9D7E91DF7C1A}" destId="{2FC54A92-3CB6-4D19-A279-E79D2406BF14}" srcOrd="0" destOrd="0" presId="urn:microsoft.com/office/officeart/2008/layout/HalfCircleOrganizationChart"/>
    <dgm:cxn modelId="{413A44FB-C8C6-4D3D-8673-D9955652410B}" type="presParOf" srcId="{0ACEF32B-13AF-4BDF-8113-9D7E91DF7C1A}" destId="{525C6E27-AF84-4633-8872-072CFDBB43B2}" srcOrd="1" destOrd="0" presId="urn:microsoft.com/office/officeart/2008/layout/HalfCircleOrganizationChart"/>
    <dgm:cxn modelId="{962C3B40-2118-4D3B-BAD2-B3DD6B03CE3E}" type="presParOf" srcId="{0ACEF32B-13AF-4BDF-8113-9D7E91DF7C1A}" destId="{9FF3029D-223B-4087-A7C4-CA639E343A64}" srcOrd="2" destOrd="0" presId="urn:microsoft.com/office/officeart/2008/layout/HalfCircleOrganizationChart"/>
    <dgm:cxn modelId="{EEE7B3AA-49C6-4279-B7F0-56DBB46C9782}" type="presParOf" srcId="{0ACEF32B-13AF-4BDF-8113-9D7E91DF7C1A}" destId="{0D42ECD9-A595-4898-8026-9EAE720CAF3E}" srcOrd="3" destOrd="0" presId="urn:microsoft.com/office/officeart/2008/layout/HalfCircleOrganizationChart"/>
    <dgm:cxn modelId="{D6D0BB5E-15C4-4B28-9AB0-DFB4032D0B1B}" type="presParOf" srcId="{F58A52D6-8E7C-4BF1-8882-E51CB7395A2A}" destId="{1F6F7E61-EE07-4B8B-AABC-785FDB6D6641}" srcOrd="1" destOrd="0" presId="urn:microsoft.com/office/officeart/2008/layout/HalfCircleOrganizationChart"/>
    <dgm:cxn modelId="{A105CCB1-AAD6-4B90-81F4-D37E2A84CDCB}" type="presParOf" srcId="{1F6F7E61-EE07-4B8B-AABC-785FDB6D6641}" destId="{9AB4BD83-2B46-4B45-9AB7-E2D549D0A7FF}" srcOrd="0" destOrd="0" presId="urn:microsoft.com/office/officeart/2008/layout/HalfCircleOrganizationChart"/>
    <dgm:cxn modelId="{5509F1B1-35E5-4142-B1E3-0A92B5FB2E8F}" type="presParOf" srcId="{1F6F7E61-EE07-4B8B-AABC-785FDB6D6641}" destId="{588A3B2D-84FF-4769-BDB6-F1A6777BAFD4}" srcOrd="1" destOrd="0" presId="urn:microsoft.com/office/officeart/2008/layout/HalfCircleOrganizationChart"/>
    <dgm:cxn modelId="{520372DA-B687-4EAC-A702-EB58389923D9}" type="presParOf" srcId="{588A3B2D-84FF-4769-BDB6-F1A6777BAFD4}" destId="{940584E2-12AD-48DD-9F41-5B45C21D7DF6}" srcOrd="0" destOrd="0" presId="urn:microsoft.com/office/officeart/2008/layout/HalfCircleOrganizationChart"/>
    <dgm:cxn modelId="{06AC8E0F-FDFC-48B5-8D7D-75B64686C365}" type="presParOf" srcId="{940584E2-12AD-48DD-9F41-5B45C21D7DF6}" destId="{52D3982B-23BC-40E8-AECE-595D7184167E}" srcOrd="0" destOrd="0" presId="urn:microsoft.com/office/officeart/2008/layout/HalfCircleOrganizationChart"/>
    <dgm:cxn modelId="{7301DBCD-637C-4BE2-B5F9-F19EF3F071D4}" type="presParOf" srcId="{940584E2-12AD-48DD-9F41-5B45C21D7DF6}" destId="{10E64542-779D-4FF5-A485-76BD09B0725F}" srcOrd="1" destOrd="0" presId="urn:microsoft.com/office/officeart/2008/layout/HalfCircleOrganizationChart"/>
    <dgm:cxn modelId="{1F75F25C-A898-49D9-9590-A51C1E84E958}" type="presParOf" srcId="{940584E2-12AD-48DD-9F41-5B45C21D7DF6}" destId="{F0AB33CB-C9FD-439C-B6B0-0691554E50A8}" srcOrd="2" destOrd="0" presId="urn:microsoft.com/office/officeart/2008/layout/HalfCircleOrganizationChart"/>
    <dgm:cxn modelId="{28D5990B-20A6-4EFA-9AA9-8CB9FAB4CB0F}" type="presParOf" srcId="{940584E2-12AD-48DD-9F41-5B45C21D7DF6}" destId="{24DCF011-5A01-49CF-B2E3-1D7216BD93D0}" srcOrd="3" destOrd="0" presId="urn:microsoft.com/office/officeart/2008/layout/HalfCircleOrganizationChart"/>
    <dgm:cxn modelId="{DD88111E-B27D-4E08-80F2-B84EA71862ED}" type="presParOf" srcId="{588A3B2D-84FF-4769-BDB6-F1A6777BAFD4}" destId="{2869211E-BF2B-48DD-BF1E-218FA3254796}" srcOrd="1" destOrd="0" presId="urn:microsoft.com/office/officeart/2008/layout/HalfCircleOrganizationChart"/>
    <dgm:cxn modelId="{F8BA2AAE-F007-47AD-AB68-E209F43CBF45}" type="presParOf" srcId="{2869211E-BF2B-48DD-BF1E-218FA3254796}" destId="{F2A9CA56-9BE3-4F5C-8A86-660431EC7BFB}" srcOrd="0" destOrd="0" presId="urn:microsoft.com/office/officeart/2008/layout/HalfCircleOrganizationChart"/>
    <dgm:cxn modelId="{F5B2F771-502C-4F2A-AF4F-F50DFBC00981}" type="presParOf" srcId="{2869211E-BF2B-48DD-BF1E-218FA3254796}" destId="{7B4C11B8-6FC2-4948-A0E9-06777B45CE71}" srcOrd="1" destOrd="0" presId="urn:microsoft.com/office/officeart/2008/layout/HalfCircleOrganizationChart"/>
    <dgm:cxn modelId="{BB92491D-D489-47D1-AFEA-A10068E2600B}" type="presParOf" srcId="{7B4C11B8-6FC2-4948-A0E9-06777B45CE71}" destId="{5B91739F-34EA-4022-956D-2EF0E21548BF}" srcOrd="0" destOrd="0" presId="urn:microsoft.com/office/officeart/2008/layout/HalfCircleOrganizationChart"/>
    <dgm:cxn modelId="{CB3786AE-A788-45D5-87E6-66A0A34B0F6E}" type="presParOf" srcId="{5B91739F-34EA-4022-956D-2EF0E21548BF}" destId="{3A6713B7-CB0B-49C4-934C-2E09F172A298}" srcOrd="0" destOrd="0" presId="urn:microsoft.com/office/officeart/2008/layout/HalfCircleOrganizationChart"/>
    <dgm:cxn modelId="{2A879A3A-EB58-43CE-A747-18B0BED1D502}" type="presParOf" srcId="{5B91739F-34EA-4022-956D-2EF0E21548BF}" destId="{591D2FBF-DA54-46AC-9411-0B403AF17451}" srcOrd="1" destOrd="0" presId="urn:microsoft.com/office/officeart/2008/layout/HalfCircleOrganizationChart"/>
    <dgm:cxn modelId="{DF5FB426-6833-45F9-83B2-3B57DF86DD44}" type="presParOf" srcId="{5B91739F-34EA-4022-956D-2EF0E21548BF}" destId="{E4845FAF-DE0D-4548-96F5-1357BB1EFDBE}" srcOrd="2" destOrd="0" presId="urn:microsoft.com/office/officeart/2008/layout/HalfCircleOrganizationChart"/>
    <dgm:cxn modelId="{774CCA63-D4D0-4657-A820-6D38CBE0F5A5}" type="presParOf" srcId="{5B91739F-34EA-4022-956D-2EF0E21548BF}" destId="{6ACA419B-CBB4-4DE8-A9FA-B8967046DAAE}" srcOrd="3" destOrd="0" presId="urn:microsoft.com/office/officeart/2008/layout/HalfCircleOrganizationChart"/>
    <dgm:cxn modelId="{3F2A27D8-18CC-4720-B73A-323B3F9088EE}" type="presParOf" srcId="{7B4C11B8-6FC2-4948-A0E9-06777B45CE71}" destId="{93B08A93-CFCF-41B9-8836-2B840B302180}" srcOrd="1" destOrd="0" presId="urn:microsoft.com/office/officeart/2008/layout/HalfCircleOrganizationChart"/>
    <dgm:cxn modelId="{27BEC9B4-7F29-4E33-8AD1-4BBA95E58B0D}" type="presParOf" srcId="{7B4C11B8-6FC2-4948-A0E9-06777B45CE71}" destId="{77DBFBFA-DF28-4248-9A68-259019C457E9}" srcOrd="2" destOrd="0" presId="urn:microsoft.com/office/officeart/2008/layout/HalfCircleOrganizationChart"/>
    <dgm:cxn modelId="{6E47E51F-6D4F-4998-B37C-2CAC930E56D3}" type="presParOf" srcId="{588A3B2D-84FF-4769-BDB6-F1A6777BAFD4}" destId="{523DB91B-4C90-42D1-B6A1-DF8BA9A099B8}" srcOrd="2" destOrd="0" presId="urn:microsoft.com/office/officeart/2008/layout/HalfCircleOrganizationChart"/>
    <dgm:cxn modelId="{7C9A7815-E64C-41DF-BB1D-B1D295B340B6}" type="presParOf" srcId="{F58A52D6-8E7C-4BF1-8882-E51CB7395A2A}" destId="{398D666C-D165-424F-857D-EB00C29DC10D}" srcOrd="2" destOrd="0" presId="urn:microsoft.com/office/officeart/2008/layout/HalfCircleOrganizationChart"/>
    <dgm:cxn modelId="{69330983-5EC8-4AEA-8CF1-E44B02B790AD}" type="presParOf" srcId="{0E89CC40-79EF-49BC-BB43-19705F982559}" destId="{FD214354-1BC9-4E20-A62B-52234808F0CA}" srcOrd="6" destOrd="0" presId="urn:microsoft.com/office/officeart/2008/layout/HalfCircleOrganizationChart"/>
    <dgm:cxn modelId="{E1E25C8C-09E4-4305-BD14-0A71BE0A8429}" type="presParOf" srcId="{0E89CC40-79EF-49BC-BB43-19705F982559}" destId="{EE0FA60F-E371-4915-BD22-DA9EC9159D83}" srcOrd="7" destOrd="0" presId="urn:microsoft.com/office/officeart/2008/layout/HalfCircleOrganizationChart"/>
    <dgm:cxn modelId="{62B176EC-D521-402D-BF35-34A8FE49A81E}" type="presParOf" srcId="{EE0FA60F-E371-4915-BD22-DA9EC9159D83}" destId="{DA8326F1-8803-4EF4-A95A-094AD4FE8B0A}" srcOrd="0" destOrd="0" presId="urn:microsoft.com/office/officeart/2008/layout/HalfCircleOrganizationChart"/>
    <dgm:cxn modelId="{150DA8F9-B154-4FEA-96DB-44151313FB96}" type="presParOf" srcId="{DA8326F1-8803-4EF4-A95A-094AD4FE8B0A}" destId="{9231C2BC-874C-41E8-BD87-5B90C2B9D84D}" srcOrd="0" destOrd="0" presId="urn:microsoft.com/office/officeart/2008/layout/HalfCircleOrganizationChart"/>
    <dgm:cxn modelId="{B68AA36F-C0EB-4E1E-B8F6-E124D86BA944}" type="presParOf" srcId="{DA8326F1-8803-4EF4-A95A-094AD4FE8B0A}" destId="{708BEEC2-6CF7-4B9E-A4D1-A11A2958B523}" srcOrd="1" destOrd="0" presId="urn:microsoft.com/office/officeart/2008/layout/HalfCircleOrganizationChart"/>
    <dgm:cxn modelId="{0C76A9AD-0635-464C-891F-8630C7198396}" type="presParOf" srcId="{DA8326F1-8803-4EF4-A95A-094AD4FE8B0A}" destId="{71827426-8340-4F5C-9E21-B0B3D7767106}" srcOrd="2" destOrd="0" presId="urn:microsoft.com/office/officeart/2008/layout/HalfCircleOrganizationChart"/>
    <dgm:cxn modelId="{1771C685-6185-448B-85CE-0A6F82CC8E58}" type="presParOf" srcId="{DA8326F1-8803-4EF4-A95A-094AD4FE8B0A}" destId="{665FACE5-2B6C-4483-BDE1-6EB05AD77414}" srcOrd="3" destOrd="0" presId="urn:microsoft.com/office/officeart/2008/layout/HalfCircleOrganizationChart"/>
    <dgm:cxn modelId="{E8E32949-126E-4B2B-B8D6-0C15AAF5DC3D}" type="presParOf" srcId="{EE0FA60F-E371-4915-BD22-DA9EC9159D83}" destId="{3854D6E0-E915-45F3-AE46-AA3B7CC540EE}" srcOrd="1" destOrd="0" presId="urn:microsoft.com/office/officeart/2008/layout/HalfCircleOrganizationChart"/>
    <dgm:cxn modelId="{92991155-242C-4584-9542-80AC2C07B658}" type="presParOf" srcId="{3854D6E0-E915-45F3-AE46-AA3B7CC540EE}" destId="{6186A9D5-410A-4DE6-A343-D6D0002C1991}" srcOrd="0" destOrd="0" presId="urn:microsoft.com/office/officeart/2008/layout/HalfCircleOrganizationChart"/>
    <dgm:cxn modelId="{1CD5B7E8-56E9-4C0E-A455-D3F6E6205B93}" type="presParOf" srcId="{3854D6E0-E915-45F3-AE46-AA3B7CC540EE}" destId="{57A9B87B-FD01-4A16-842E-5E612C2C61CD}" srcOrd="1" destOrd="0" presId="urn:microsoft.com/office/officeart/2008/layout/HalfCircleOrganizationChart"/>
    <dgm:cxn modelId="{5217FDBB-DD95-46DC-BF65-E24F54148222}" type="presParOf" srcId="{57A9B87B-FD01-4A16-842E-5E612C2C61CD}" destId="{60F1A775-FA46-4884-BAB9-AC95CC23DD34}" srcOrd="0" destOrd="0" presId="urn:microsoft.com/office/officeart/2008/layout/HalfCircleOrganizationChart"/>
    <dgm:cxn modelId="{29A806A7-6546-4638-9ECF-EE25577AA45A}" type="presParOf" srcId="{60F1A775-FA46-4884-BAB9-AC95CC23DD34}" destId="{95F8405C-2E41-4960-9C76-1165569BC6D5}" srcOrd="0" destOrd="0" presId="urn:microsoft.com/office/officeart/2008/layout/HalfCircleOrganizationChart"/>
    <dgm:cxn modelId="{D3AFFFCF-180D-4D0F-A8BD-1A078615AABE}" type="presParOf" srcId="{60F1A775-FA46-4884-BAB9-AC95CC23DD34}" destId="{B1844273-23FE-4469-A5EC-D67929035DC2}" srcOrd="1" destOrd="0" presId="urn:microsoft.com/office/officeart/2008/layout/HalfCircleOrganizationChart"/>
    <dgm:cxn modelId="{39D4DB7B-0DB7-44B5-9C1F-E0620F69EF40}" type="presParOf" srcId="{60F1A775-FA46-4884-BAB9-AC95CC23DD34}" destId="{2745D407-E32D-4A4C-B988-5AC1C72A1B28}" srcOrd="2" destOrd="0" presId="urn:microsoft.com/office/officeart/2008/layout/HalfCircleOrganizationChart"/>
    <dgm:cxn modelId="{53A21855-9BFD-47CC-ABF5-8CB70330BC2A}" type="presParOf" srcId="{60F1A775-FA46-4884-BAB9-AC95CC23DD34}" destId="{58B5BB20-10E5-4089-AE39-42414F512D71}" srcOrd="3" destOrd="0" presId="urn:microsoft.com/office/officeart/2008/layout/HalfCircleOrganizationChart"/>
    <dgm:cxn modelId="{7F8E5A87-AA28-4A7E-9221-E894D61A50B6}" type="presParOf" srcId="{57A9B87B-FD01-4A16-842E-5E612C2C61CD}" destId="{672307A6-4EC7-47DC-98D3-FDEB4FD43184}" srcOrd="1" destOrd="0" presId="urn:microsoft.com/office/officeart/2008/layout/HalfCircleOrganizationChart"/>
    <dgm:cxn modelId="{C3BC00DC-EF25-4C48-AAF1-2933B97ABCA8}" type="presParOf" srcId="{672307A6-4EC7-47DC-98D3-FDEB4FD43184}" destId="{5BA24B62-E03B-429F-82AE-7DA7814BB6D4}" srcOrd="0" destOrd="0" presId="urn:microsoft.com/office/officeart/2008/layout/HalfCircleOrganizationChart"/>
    <dgm:cxn modelId="{E69BC91A-202B-4382-B197-1A34E609E0B1}" type="presParOf" srcId="{672307A6-4EC7-47DC-98D3-FDEB4FD43184}" destId="{E152A645-76B2-4D01-9E1A-8B4469A46165}" srcOrd="1" destOrd="0" presId="urn:microsoft.com/office/officeart/2008/layout/HalfCircleOrganizationChart"/>
    <dgm:cxn modelId="{71C0EA90-F920-4B60-9744-04C2899B3963}" type="presParOf" srcId="{E152A645-76B2-4D01-9E1A-8B4469A46165}" destId="{4B4BAB5E-D720-4E0D-B0B2-F08F584C9898}" srcOrd="0" destOrd="0" presId="urn:microsoft.com/office/officeart/2008/layout/HalfCircleOrganizationChart"/>
    <dgm:cxn modelId="{61AF7AB3-0A5C-480F-ADF6-5C52CD65E1B1}" type="presParOf" srcId="{4B4BAB5E-D720-4E0D-B0B2-F08F584C9898}" destId="{D4945396-EB6B-4209-9A69-F8565939B00A}" srcOrd="0" destOrd="0" presId="urn:microsoft.com/office/officeart/2008/layout/HalfCircleOrganizationChart"/>
    <dgm:cxn modelId="{33975168-FFE7-40E9-BEDE-4D396F2BBC2D}" type="presParOf" srcId="{4B4BAB5E-D720-4E0D-B0B2-F08F584C9898}" destId="{55E5BA2D-E2B2-497F-BA4F-B331E30D2CEA}" srcOrd="1" destOrd="0" presId="urn:microsoft.com/office/officeart/2008/layout/HalfCircleOrganizationChart"/>
    <dgm:cxn modelId="{68E35309-F983-46E6-91C6-555AB44E6492}" type="presParOf" srcId="{4B4BAB5E-D720-4E0D-B0B2-F08F584C9898}" destId="{46254195-86C9-4258-B722-05726242C32F}" srcOrd="2" destOrd="0" presId="urn:microsoft.com/office/officeart/2008/layout/HalfCircleOrganizationChart"/>
    <dgm:cxn modelId="{9F162665-4010-4048-8796-FDE2EDE0B29A}" type="presParOf" srcId="{4B4BAB5E-D720-4E0D-B0B2-F08F584C9898}" destId="{70CC310C-493A-462C-95BD-B6B299164F24}" srcOrd="3" destOrd="0" presId="urn:microsoft.com/office/officeart/2008/layout/HalfCircleOrganizationChart"/>
    <dgm:cxn modelId="{BFDA725E-2C41-4E5F-92EF-28D95095AAED}" type="presParOf" srcId="{E152A645-76B2-4D01-9E1A-8B4469A46165}" destId="{9C8FA885-0F2B-4E67-8035-4A43063BF6FC}" srcOrd="1" destOrd="0" presId="urn:microsoft.com/office/officeart/2008/layout/HalfCircleOrganizationChart"/>
    <dgm:cxn modelId="{79298B2F-0309-4C4B-8151-D0B1AE1B659C}" type="presParOf" srcId="{E152A645-76B2-4D01-9E1A-8B4469A46165}" destId="{92A89F87-A469-4D7F-9617-E59D389D706E}" srcOrd="2" destOrd="0" presId="urn:microsoft.com/office/officeart/2008/layout/HalfCircleOrganizationChart"/>
    <dgm:cxn modelId="{FFBFB948-4E78-4B2E-A7A1-7DE3B85FCEC1}" type="presParOf" srcId="{672307A6-4EC7-47DC-98D3-FDEB4FD43184}" destId="{ABF46260-6774-459C-BA58-ECA0381146FF}" srcOrd="2" destOrd="0" presId="urn:microsoft.com/office/officeart/2008/layout/HalfCircleOrganizationChart"/>
    <dgm:cxn modelId="{7D34DE93-DC54-4FAD-904B-25CEA2E7C428}" type="presParOf" srcId="{672307A6-4EC7-47DC-98D3-FDEB4FD43184}" destId="{1FD2FFA7-75B5-4936-88AF-29FFF79B1271}" srcOrd="3" destOrd="0" presId="urn:microsoft.com/office/officeart/2008/layout/HalfCircleOrganizationChart"/>
    <dgm:cxn modelId="{B6A23562-E7F0-4AC7-93FD-0FFBBB686E72}" type="presParOf" srcId="{1FD2FFA7-75B5-4936-88AF-29FFF79B1271}" destId="{8077C5FA-3C3B-4C4B-ACFD-55E7B1151379}" srcOrd="0" destOrd="0" presId="urn:microsoft.com/office/officeart/2008/layout/HalfCircleOrganizationChart"/>
    <dgm:cxn modelId="{2CD4C14E-F4AE-4330-BCED-51102F2B5BC2}" type="presParOf" srcId="{8077C5FA-3C3B-4C4B-ACFD-55E7B1151379}" destId="{B2A1CC7A-EE46-4477-AD3B-7CC8BC3BB483}" srcOrd="0" destOrd="0" presId="urn:microsoft.com/office/officeart/2008/layout/HalfCircleOrganizationChart"/>
    <dgm:cxn modelId="{27A41A98-7120-4089-B08C-8994A88D620F}" type="presParOf" srcId="{8077C5FA-3C3B-4C4B-ACFD-55E7B1151379}" destId="{F1ABC4E1-497B-4A2E-A8AB-1714513E6DC1}" srcOrd="1" destOrd="0" presId="urn:microsoft.com/office/officeart/2008/layout/HalfCircleOrganizationChart"/>
    <dgm:cxn modelId="{67398EDF-AAAB-4E0A-810F-1910FC2B1F33}" type="presParOf" srcId="{8077C5FA-3C3B-4C4B-ACFD-55E7B1151379}" destId="{1D73B9D7-F2CC-426A-A391-B3DB3382EEE6}" srcOrd="2" destOrd="0" presId="urn:microsoft.com/office/officeart/2008/layout/HalfCircleOrganizationChart"/>
    <dgm:cxn modelId="{9FA07005-B5C7-4DAF-A0AA-F26237EE6C2C}" type="presParOf" srcId="{8077C5FA-3C3B-4C4B-ACFD-55E7B1151379}" destId="{BEF9CCC5-6F8B-411F-9473-A099503D76A5}" srcOrd="3" destOrd="0" presId="urn:microsoft.com/office/officeart/2008/layout/HalfCircleOrganizationChart"/>
    <dgm:cxn modelId="{9252FDF9-B196-4DBE-A5CD-B39B1A0EFBDB}" type="presParOf" srcId="{1FD2FFA7-75B5-4936-88AF-29FFF79B1271}" destId="{06F9AFA3-50F0-4336-BB74-175BB9C49425}" srcOrd="1" destOrd="0" presId="urn:microsoft.com/office/officeart/2008/layout/HalfCircleOrganizationChart"/>
    <dgm:cxn modelId="{8900C554-D6B8-413E-993A-11EFA4039F40}" type="presParOf" srcId="{1FD2FFA7-75B5-4936-88AF-29FFF79B1271}" destId="{C1D977B9-7B26-48CE-8B35-2EA3989E5D83}" srcOrd="2" destOrd="0" presId="urn:microsoft.com/office/officeart/2008/layout/HalfCircleOrganizationChart"/>
    <dgm:cxn modelId="{F335032F-F92D-40E5-917B-2EFDACDE6194}" type="presParOf" srcId="{57A9B87B-FD01-4A16-842E-5E612C2C61CD}" destId="{BCBCC5A4-2E2A-4EA6-8873-A47D9118191E}" srcOrd="2" destOrd="0" presId="urn:microsoft.com/office/officeart/2008/layout/HalfCircleOrganizationChart"/>
    <dgm:cxn modelId="{6F29C080-00E1-448E-8F11-E051133020F4}" type="presParOf" srcId="{3854D6E0-E915-45F3-AE46-AA3B7CC540EE}" destId="{DF87D862-2780-4509-BBC7-4D16DEDD4C87}" srcOrd="2" destOrd="0" presId="urn:microsoft.com/office/officeart/2008/layout/HalfCircleOrganizationChart"/>
    <dgm:cxn modelId="{A6CDB4AC-2596-4773-8D17-7A095B6D04E8}" type="presParOf" srcId="{3854D6E0-E915-45F3-AE46-AA3B7CC540EE}" destId="{49A4E2F6-AAA5-4836-B8E2-828A7C5B9598}" srcOrd="3" destOrd="0" presId="urn:microsoft.com/office/officeart/2008/layout/HalfCircleOrganizationChart"/>
    <dgm:cxn modelId="{557EDCAD-B9D8-4AF1-AD93-40AE227436CE}" type="presParOf" srcId="{49A4E2F6-AAA5-4836-B8E2-828A7C5B9598}" destId="{C50CAD60-2DFA-47A9-8CF6-14C767EBBD1B}" srcOrd="0" destOrd="0" presId="urn:microsoft.com/office/officeart/2008/layout/HalfCircleOrganizationChart"/>
    <dgm:cxn modelId="{42C97E59-D578-4B1E-BF16-2097B0A48528}" type="presParOf" srcId="{C50CAD60-2DFA-47A9-8CF6-14C767EBBD1B}" destId="{90BB7528-CBD4-4F63-A658-B7B4111947AE}" srcOrd="0" destOrd="0" presId="urn:microsoft.com/office/officeart/2008/layout/HalfCircleOrganizationChart"/>
    <dgm:cxn modelId="{53D96203-95EE-4596-B809-AEA8F3E30B16}" type="presParOf" srcId="{C50CAD60-2DFA-47A9-8CF6-14C767EBBD1B}" destId="{4E8CA305-BDB4-46B0-9D5B-ECC72D3E0198}" srcOrd="1" destOrd="0" presId="urn:microsoft.com/office/officeart/2008/layout/HalfCircleOrganizationChart"/>
    <dgm:cxn modelId="{FC9A76E4-CCB2-423C-BE0B-1D01DBFB717D}" type="presParOf" srcId="{C50CAD60-2DFA-47A9-8CF6-14C767EBBD1B}" destId="{EF5ADA26-A8D6-4B6B-A8C0-E18F082C93F7}" srcOrd="2" destOrd="0" presId="urn:microsoft.com/office/officeart/2008/layout/HalfCircleOrganizationChart"/>
    <dgm:cxn modelId="{879C0178-D699-4389-8A0E-469F10C595C0}" type="presParOf" srcId="{C50CAD60-2DFA-47A9-8CF6-14C767EBBD1B}" destId="{3406C6FA-3CF8-43DA-96A0-DFCC062E5617}" srcOrd="3" destOrd="0" presId="urn:microsoft.com/office/officeart/2008/layout/HalfCircleOrganizationChart"/>
    <dgm:cxn modelId="{83811118-A5E8-4512-9863-24FFB40EB394}" type="presParOf" srcId="{49A4E2F6-AAA5-4836-B8E2-828A7C5B9598}" destId="{CC8D457A-C658-4639-9D7F-D0843CB9FC02}" srcOrd="1" destOrd="0" presId="urn:microsoft.com/office/officeart/2008/layout/HalfCircleOrganizationChart"/>
    <dgm:cxn modelId="{8CE6A63D-0825-4145-AB1A-A7684E8F5C50}" type="presParOf" srcId="{CC8D457A-C658-4639-9D7F-D0843CB9FC02}" destId="{26D1617F-9673-4CF2-86B7-0303D89EDB58}" srcOrd="0" destOrd="0" presId="urn:microsoft.com/office/officeart/2008/layout/HalfCircleOrganizationChart"/>
    <dgm:cxn modelId="{C08D894A-7C5F-4A0B-BD91-451A4FB81A45}" type="presParOf" srcId="{CC8D457A-C658-4639-9D7F-D0843CB9FC02}" destId="{3BF75EE8-ABB8-4176-B6AD-1D045492DFC3}" srcOrd="1" destOrd="0" presId="urn:microsoft.com/office/officeart/2008/layout/HalfCircleOrganizationChart"/>
    <dgm:cxn modelId="{64862A9A-2489-4580-BA2E-218598AAD979}" type="presParOf" srcId="{3BF75EE8-ABB8-4176-B6AD-1D045492DFC3}" destId="{FB9DD094-707B-4515-BBD8-F80134D4612A}" srcOrd="0" destOrd="0" presId="urn:microsoft.com/office/officeart/2008/layout/HalfCircleOrganizationChart"/>
    <dgm:cxn modelId="{DCF7ECA7-F4FC-48A3-8623-7FC6225A252B}" type="presParOf" srcId="{FB9DD094-707B-4515-BBD8-F80134D4612A}" destId="{32B18196-30B6-43C1-9EB1-3D50E4D7D9E5}" srcOrd="0" destOrd="0" presId="urn:microsoft.com/office/officeart/2008/layout/HalfCircleOrganizationChart"/>
    <dgm:cxn modelId="{92B65821-7C08-4A4D-AA8E-42B66254C227}" type="presParOf" srcId="{FB9DD094-707B-4515-BBD8-F80134D4612A}" destId="{7D080EC5-E569-4813-BDFB-65BCE7D9AA11}" srcOrd="1" destOrd="0" presId="urn:microsoft.com/office/officeart/2008/layout/HalfCircleOrganizationChart"/>
    <dgm:cxn modelId="{EEE70600-C775-426D-B7B5-66EA129F5A04}" type="presParOf" srcId="{FB9DD094-707B-4515-BBD8-F80134D4612A}" destId="{6B61147C-74D2-4E05-9447-9600D87F29D0}" srcOrd="2" destOrd="0" presId="urn:microsoft.com/office/officeart/2008/layout/HalfCircleOrganizationChart"/>
    <dgm:cxn modelId="{0622836C-45AB-44CE-8CB9-EBE9E20DD744}" type="presParOf" srcId="{FB9DD094-707B-4515-BBD8-F80134D4612A}" destId="{72753544-0646-4F65-9073-B32C75F5F752}" srcOrd="3" destOrd="0" presId="urn:microsoft.com/office/officeart/2008/layout/HalfCircleOrganizationChart"/>
    <dgm:cxn modelId="{9DD24C8A-2788-46F9-88FB-E3EC3AD0069A}" type="presParOf" srcId="{3BF75EE8-ABB8-4176-B6AD-1D045492DFC3}" destId="{3D7370ED-2665-431B-8F70-AF1E6824527C}" srcOrd="1" destOrd="0" presId="urn:microsoft.com/office/officeart/2008/layout/HalfCircleOrganizationChart"/>
    <dgm:cxn modelId="{725B61F8-F23E-46F6-8D15-33EE7168F239}" type="presParOf" srcId="{3BF75EE8-ABB8-4176-B6AD-1D045492DFC3}" destId="{8A0BB29C-CBDD-4722-A1A1-7753B54F6EDA}" srcOrd="2" destOrd="0" presId="urn:microsoft.com/office/officeart/2008/layout/HalfCircleOrganizationChart"/>
    <dgm:cxn modelId="{9A14AC02-69C8-4A48-95D4-25F2706A0137}" type="presParOf" srcId="{49A4E2F6-AAA5-4836-B8E2-828A7C5B9598}" destId="{3A6ABA81-4616-40EA-826D-22D4EF238966}" srcOrd="2" destOrd="0" presId="urn:microsoft.com/office/officeart/2008/layout/HalfCircleOrganizationChart"/>
    <dgm:cxn modelId="{C38B7B05-62C0-40B2-BFF3-6C40AB0E6E69}" type="presParOf" srcId="{3854D6E0-E915-45F3-AE46-AA3B7CC540EE}" destId="{D1A169BD-810C-4E79-9F65-CBD829A5B2DE}" srcOrd="4" destOrd="0" presId="urn:microsoft.com/office/officeart/2008/layout/HalfCircleOrganizationChart"/>
    <dgm:cxn modelId="{F7C6F212-2CAD-4F51-8356-CD63E3F7BCFB}" type="presParOf" srcId="{3854D6E0-E915-45F3-AE46-AA3B7CC540EE}" destId="{61FF1F74-D407-4178-B621-4FF1B74A3360}" srcOrd="5" destOrd="0" presId="urn:microsoft.com/office/officeart/2008/layout/HalfCircleOrganizationChart"/>
    <dgm:cxn modelId="{5764D3A1-3F92-4F94-A874-CA0E5595A509}" type="presParOf" srcId="{61FF1F74-D407-4178-B621-4FF1B74A3360}" destId="{F4C5F97E-2EF6-437E-8A5A-0ECC3BC68951}" srcOrd="0" destOrd="0" presId="urn:microsoft.com/office/officeart/2008/layout/HalfCircleOrganizationChart"/>
    <dgm:cxn modelId="{A726716C-D0AC-4604-A8FF-09F1DE3E3322}" type="presParOf" srcId="{F4C5F97E-2EF6-437E-8A5A-0ECC3BC68951}" destId="{45E308E2-14EE-4167-99B7-E48388E91FE2}" srcOrd="0" destOrd="0" presId="urn:microsoft.com/office/officeart/2008/layout/HalfCircleOrganizationChart"/>
    <dgm:cxn modelId="{DA3DAC32-88B1-45B5-8DCB-7AC0A2C3A519}" type="presParOf" srcId="{F4C5F97E-2EF6-437E-8A5A-0ECC3BC68951}" destId="{D13DE31D-685A-4D51-ACD6-1B8AE2467040}" srcOrd="1" destOrd="0" presId="urn:microsoft.com/office/officeart/2008/layout/HalfCircleOrganizationChart"/>
    <dgm:cxn modelId="{52C70DF9-186B-4E35-A5AC-973C8AC0403B}" type="presParOf" srcId="{F4C5F97E-2EF6-437E-8A5A-0ECC3BC68951}" destId="{49E2FF7F-8701-4501-8088-BC2FEE0A77BB}" srcOrd="2" destOrd="0" presId="urn:microsoft.com/office/officeart/2008/layout/HalfCircleOrganizationChart"/>
    <dgm:cxn modelId="{668FA1A3-D6D3-4E3D-A2F6-4963CCA86E89}" type="presParOf" srcId="{F4C5F97E-2EF6-437E-8A5A-0ECC3BC68951}" destId="{1AAF308C-FA55-4791-83E6-A1E7C1F45975}" srcOrd="3" destOrd="0" presId="urn:microsoft.com/office/officeart/2008/layout/HalfCircleOrganizationChart"/>
    <dgm:cxn modelId="{91527ACA-EA30-4FCE-A61A-219F5F6D2171}" type="presParOf" srcId="{61FF1F74-D407-4178-B621-4FF1B74A3360}" destId="{20979FEE-F84F-4A10-9FA4-D6EE2693D30D}" srcOrd="1" destOrd="0" presId="urn:microsoft.com/office/officeart/2008/layout/HalfCircleOrganizationChart"/>
    <dgm:cxn modelId="{69D5018D-5137-4E14-8EE2-E767FE60C118}" type="presParOf" srcId="{20979FEE-F84F-4A10-9FA4-D6EE2693D30D}" destId="{0FC1C2A8-CBEF-426D-8906-2B79479C796C}" srcOrd="0" destOrd="0" presId="urn:microsoft.com/office/officeart/2008/layout/HalfCircleOrganizationChart"/>
    <dgm:cxn modelId="{17E5C2A9-D088-4713-A7D4-8CDEB82A1702}" type="presParOf" srcId="{20979FEE-F84F-4A10-9FA4-D6EE2693D30D}" destId="{A4D08027-68B4-42FF-B27F-58051424A8B4}" srcOrd="1" destOrd="0" presId="urn:microsoft.com/office/officeart/2008/layout/HalfCircleOrganizationChart"/>
    <dgm:cxn modelId="{5813C278-3726-48C7-BA7F-D8B9883A6174}" type="presParOf" srcId="{A4D08027-68B4-42FF-B27F-58051424A8B4}" destId="{DE3ACAE2-B6BB-4DC3-BBC8-A26980CEB189}" srcOrd="0" destOrd="0" presId="urn:microsoft.com/office/officeart/2008/layout/HalfCircleOrganizationChart"/>
    <dgm:cxn modelId="{4E104CDE-DD79-46D1-A635-01C7FB82497A}" type="presParOf" srcId="{DE3ACAE2-B6BB-4DC3-BBC8-A26980CEB189}" destId="{985BC826-EEDF-424E-B0FE-44D8A474144B}" srcOrd="0" destOrd="0" presId="urn:microsoft.com/office/officeart/2008/layout/HalfCircleOrganizationChart"/>
    <dgm:cxn modelId="{CBBD50B5-AA19-4F4D-947C-B6EEC4521900}" type="presParOf" srcId="{DE3ACAE2-B6BB-4DC3-BBC8-A26980CEB189}" destId="{E8B8891B-AF47-453E-8270-41585D39ED68}" srcOrd="1" destOrd="0" presId="urn:microsoft.com/office/officeart/2008/layout/HalfCircleOrganizationChart"/>
    <dgm:cxn modelId="{AE6B9915-F067-46F9-85E7-605A7BEB76E5}" type="presParOf" srcId="{DE3ACAE2-B6BB-4DC3-BBC8-A26980CEB189}" destId="{9A8D8577-E8EB-4A5D-B2DC-798B85D7D0AC}" srcOrd="2" destOrd="0" presId="urn:microsoft.com/office/officeart/2008/layout/HalfCircleOrganizationChart"/>
    <dgm:cxn modelId="{31B98C23-B3F5-4AB8-A697-F04577F84B7C}" type="presParOf" srcId="{DE3ACAE2-B6BB-4DC3-BBC8-A26980CEB189}" destId="{710015E7-0803-469E-B2B3-6C70CD178E91}" srcOrd="3" destOrd="0" presId="urn:microsoft.com/office/officeart/2008/layout/HalfCircleOrganizationChart"/>
    <dgm:cxn modelId="{49F501A2-44A7-4D6E-A2DB-D96B4B6D105B}" type="presParOf" srcId="{A4D08027-68B4-42FF-B27F-58051424A8B4}" destId="{3EF98543-1CDD-490D-B3D1-8DB317F102EC}" srcOrd="1" destOrd="0" presId="urn:microsoft.com/office/officeart/2008/layout/HalfCircleOrganizationChart"/>
    <dgm:cxn modelId="{330051D6-C945-41B6-8AD7-2DE2E97A5CFC}" type="presParOf" srcId="{3EF98543-1CDD-490D-B3D1-8DB317F102EC}" destId="{E3D16845-8216-4481-B6E6-20027107F7F1}" srcOrd="0" destOrd="0" presId="urn:microsoft.com/office/officeart/2008/layout/HalfCircleOrganizationChart"/>
    <dgm:cxn modelId="{3D083119-8F93-4C7B-8334-8D84D003F62E}" type="presParOf" srcId="{3EF98543-1CDD-490D-B3D1-8DB317F102EC}" destId="{2BC61B15-986D-434A-8067-E8E0075776F6}" srcOrd="1" destOrd="0" presId="urn:microsoft.com/office/officeart/2008/layout/HalfCircleOrganizationChart"/>
    <dgm:cxn modelId="{49AE126C-675D-4D73-B410-6F71139B531B}" type="presParOf" srcId="{2BC61B15-986D-434A-8067-E8E0075776F6}" destId="{FEEDC29D-6B41-45B8-B2B4-2C33DB8E6E4B}" srcOrd="0" destOrd="0" presId="urn:microsoft.com/office/officeart/2008/layout/HalfCircleOrganizationChart"/>
    <dgm:cxn modelId="{13A2F438-5674-419A-87B2-B1899F1B6866}" type="presParOf" srcId="{FEEDC29D-6B41-45B8-B2B4-2C33DB8E6E4B}" destId="{0808A228-8482-47D1-BAC3-85F3888F6C3F}" srcOrd="0" destOrd="0" presId="urn:microsoft.com/office/officeart/2008/layout/HalfCircleOrganizationChart"/>
    <dgm:cxn modelId="{AD930420-36DE-4AAD-85C6-722C3E5D4624}" type="presParOf" srcId="{FEEDC29D-6B41-45B8-B2B4-2C33DB8E6E4B}" destId="{05E3CCAD-796B-488D-9217-48EA495D83DF}" srcOrd="1" destOrd="0" presId="urn:microsoft.com/office/officeart/2008/layout/HalfCircleOrganizationChart"/>
    <dgm:cxn modelId="{4DA61DB1-CC2D-4962-8B07-1D62B161A904}" type="presParOf" srcId="{FEEDC29D-6B41-45B8-B2B4-2C33DB8E6E4B}" destId="{D3F8DDBB-AD9F-42E8-8431-7519AB2EA6D9}" srcOrd="2" destOrd="0" presId="urn:microsoft.com/office/officeart/2008/layout/HalfCircleOrganizationChart"/>
    <dgm:cxn modelId="{01C45117-A306-49A0-9B6E-C63F167BE6C8}" type="presParOf" srcId="{FEEDC29D-6B41-45B8-B2B4-2C33DB8E6E4B}" destId="{F5232B97-F52E-4B73-BC32-E0385689ABCA}" srcOrd="3" destOrd="0" presId="urn:microsoft.com/office/officeart/2008/layout/HalfCircleOrganizationChart"/>
    <dgm:cxn modelId="{D4038C0B-3673-4C1B-B330-9994540DCDDD}" type="presParOf" srcId="{2BC61B15-986D-434A-8067-E8E0075776F6}" destId="{CEEA9120-5A9F-422F-AC34-4934DD4D5CE1}" srcOrd="1" destOrd="0" presId="urn:microsoft.com/office/officeart/2008/layout/HalfCircleOrganizationChart"/>
    <dgm:cxn modelId="{08421368-CC33-454C-ABDC-7E0391D1292A}" type="presParOf" srcId="{CEEA9120-5A9F-422F-AC34-4934DD4D5CE1}" destId="{6CDC2940-F0DD-42B3-B50F-8F0C2D470DF0}" srcOrd="0" destOrd="0" presId="urn:microsoft.com/office/officeart/2008/layout/HalfCircleOrganizationChart"/>
    <dgm:cxn modelId="{ACC4DF50-C4DD-4FEB-8F58-BA8A522C7496}" type="presParOf" srcId="{CEEA9120-5A9F-422F-AC34-4934DD4D5CE1}" destId="{D30FCD87-D8A6-4D1F-8FE7-CD4766CAC8D9}" srcOrd="1" destOrd="0" presId="urn:microsoft.com/office/officeart/2008/layout/HalfCircleOrganizationChart"/>
    <dgm:cxn modelId="{9753AD74-C80A-4980-88FB-74361BC66134}" type="presParOf" srcId="{D30FCD87-D8A6-4D1F-8FE7-CD4766CAC8D9}" destId="{3FC4967B-0967-41AB-A459-1FC5611657B9}" srcOrd="0" destOrd="0" presId="urn:microsoft.com/office/officeart/2008/layout/HalfCircleOrganizationChart"/>
    <dgm:cxn modelId="{C3F59330-F831-4C4A-B2A9-EAAD63A8FA86}" type="presParOf" srcId="{3FC4967B-0967-41AB-A459-1FC5611657B9}" destId="{CFDBE3C2-A79C-4A4E-B3B3-BB25F9A731D5}" srcOrd="0" destOrd="0" presId="urn:microsoft.com/office/officeart/2008/layout/HalfCircleOrganizationChart"/>
    <dgm:cxn modelId="{BA78953B-8EA5-4EFA-A5CE-4114C0D84486}" type="presParOf" srcId="{3FC4967B-0967-41AB-A459-1FC5611657B9}" destId="{34F1F683-3BAF-43A0-B64E-481298910AAC}" srcOrd="1" destOrd="0" presId="urn:microsoft.com/office/officeart/2008/layout/HalfCircleOrganizationChart"/>
    <dgm:cxn modelId="{235AD00F-7DDB-49F2-BAE7-F99443924D86}" type="presParOf" srcId="{3FC4967B-0967-41AB-A459-1FC5611657B9}" destId="{AC062BCD-B4C1-4274-B99A-02B54EF7C7E8}" srcOrd="2" destOrd="0" presId="urn:microsoft.com/office/officeart/2008/layout/HalfCircleOrganizationChart"/>
    <dgm:cxn modelId="{ED8231DD-F275-4A2E-966D-5FDC57C14603}" type="presParOf" srcId="{3FC4967B-0967-41AB-A459-1FC5611657B9}" destId="{2045A4AB-4D08-49BA-B78D-78F01810EC25}" srcOrd="3" destOrd="0" presId="urn:microsoft.com/office/officeart/2008/layout/HalfCircleOrganizationChart"/>
    <dgm:cxn modelId="{A1AF8307-BC95-4EC4-80C0-A711F241421E}" type="presParOf" srcId="{D30FCD87-D8A6-4D1F-8FE7-CD4766CAC8D9}" destId="{79EA571E-D35A-4BED-97F1-2B9CA8E0B0B7}" srcOrd="1" destOrd="0" presId="urn:microsoft.com/office/officeart/2008/layout/HalfCircleOrganizationChart"/>
    <dgm:cxn modelId="{998D5BEC-CAB1-4693-818B-D84E7F7ACF4B}" type="presParOf" srcId="{79EA571E-D35A-4BED-97F1-2B9CA8E0B0B7}" destId="{5EF643BC-4F4F-46A8-8AA1-CE5F7E1EB9A0}" srcOrd="0" destOrd="0" presId="urn:microsoft.com/office/officeart/2008/layout/HalfCircleOrganizationChart"/>
    <dgm:cxn modelId="{61077CCD-31BC-48C5-A82A-5282DF591050}" type="presParOf" srcId="{79EA571E-D35A-4BED-97F1-2B9CA8E0B0B7}" destId="{344A48B3-D99C-485E-BA9E-62DB8EEDABCC}" srcOrd="1" destOrd="0" presId="urn:microsoft.com/office/officeart/2008/layout/HalfCircleOrganizationChart"/>
    <dgm:cxn modelId="{82167AE2-62AD-458D-AD6F-AFC8E4C8FB9E}" type="presParOf" srcId="{344A48B3-D99C-485E-BA9E-62DB8EEDABCC}" destId="{EC1DDD76-E8C2-42AF-9A5E-AD116D3EC390}" srcOrd="0" destOrd="0" presId="urn:microsoft.com/office/officeart/2008/layout/HalfCircleOrganizationChart"/>
    <dgm:cxn modelId="{5DC7F4ED-9638-4482-9F1D-D4262BBE926D}" type="presParOf" srcId="{EC1DDD76-E8C2-42AF-9A5E-AD116D3EC390}" destId="{993E6230-EE15-4267-B281-2C4C5093C6BF}" srcOrd="0" destOrd="0" presId="urn:microsoft.com/office/officeart/2008/layout/HalfCircleOrganizationChart"/>
    <dgm:cxn modelId="{423DDCFF-CAAE-4025-B535-9CF89659AB6C}" type="presParOf" srcId="{EC1DDD76-E8C2-42AF-9A5E-AD116D3EC390}" destId="{94F792EA-BD23-47EF-8E75-BB6B867ACAB1}" srcOrd="1" destOrd="0" presId="urn:microsoft.com/office/officeart/2008/layout/HalfCircleOrganizationChart"/>
    <dgm:cxn modelId="{53F620FB-08B2-403B-BE07-AA2077180185}" type="presParOf" srcId="{EC1DDD76-E8C2-42AF-9A5E-AD116D3EC390}" destId="{5BBFE295-F057-4690-93C6-60D90DF27833}" srcOrd="2" destOrd="0" presId="urn:microsoft.com/office/officeart/2008/layout/HalfCircleOrganizationChart"/>
    <dgm:cxn modelId="{757DCD13-352E-479C-AD43-C8D9F9C9B1F8}" type="presParOf" srcId="{EC1DDD76-E8C2-42AF-9A5E-AD116D3EC390}" destId="{D9560450-4285-49D8-9785-E7BABCFE5A26}" srcOrd="3" destOrd="0" presId="urn:microsoft.com/office/officeart/2008/layout/HalfCircleOrganizationChart"/>
    <dgm:cxn modelId="{A1C51E91-4ED6-42AF-AEC8-B5ED75916FEA}" type="presParOf" srcId="{344A48B3-D99C-485E-BA9E-62DB8EEDABCC}" destId="{1197F4CC-7099-413E-9056-CA7DE63799A7}" srcOrd="1" destOrd="0" presId="urn:microsoft.com/office/officeart/2008/layout/HalfCircleOrganizationChart"/>
    <dgm:cxn modelId="{2A1C20F6-CD62-4C11-829B-375EB1091327}" type="presParOf" srcId="{344A48B3-D99C-485E-BA9E-62DB8EEDABCC}" destId="{539E643C-89D6-4EA9-9D89-A2E499AD2E27}" srcOrd="2" destOrd="0" presId="urn:microsoft.com/office/officeart/2008/layout/HalfCircleOrganizationChart"/>
    <dgm:cxn modelId="{B9339C93-D3E3-4F9E-9A5C-491F22650D1C}" type="presParOf" srcId="{79EA571E-D35A-4BED-97F1-2B9CA8E0B0B7}" destId="{883F6C39-234A-4376-A413-C4D162047342}" srcOrd="2" destOrd="0" presId="urn:microsoft.com/office/officeart/2008/layout/HalfCircleOrganizationChart"/>
    <dgm:cxn modelId="{6A1CCDEC-6677-4093-93F3-5341F61B3B43}" type="presParOf" srcId="{79EA571E-D35A-4BED-97F1-2B9CA8E0B0B7}" destId="{924252FE-35ED-4353-B89F-3E703BF4438C}" srcOrd="3" destOrd="0" presId="urn:microsoft.com/office/officeart/2008/layout/HalfCircleOrganizationChart"/>
    <dgm:cxn modelId="{7B4A75E5-6802-42E1-82C0-A602EFC317C8}" type="presParOf" srcId="{924252FE-35ED-4353-B89F-3E703BF4438C}" destId="{4030E1EA-B6E6-4E36-A95B-F61252F2FD0B}" srcOrd="0" destOrd="0" presId="urn:microsoft.com/office/officeart/2008/layout/HalfCircleOrganizationChart"/>
    <dgm:cxn modelId="{07D0DCFF-4A6B-454E-AA23-2F55F79D36A1}" type="presParOf" srcId="{4030E1EA-B6E6-4E36-A95B-F61252F2FD0B}" destId="{57FFA4BD-688F-41BC-B615-17F587C30FD5}" srcOrd="0" destOrd="0" presId="urn:microsoft.com/office/officeart/2008/layout/HalfCircleOrganizationChart"/>
    <dgm:cxn modelId="{78CDCAC4-E915-481A-B620-787FEF3303A5}" type="presParOf" srcId="{4030E1EA-B6E6-4E36-A95B-F61252F2FD0B}" destId="{9CC3EA5D-C517-4CBB-B190-20A1BE9440C6}" srcOrd="1" destOrd="0" presId="urn:microsoft.com/office/officeart/2008/layout/HalfCircleOrganizationChart"/>
    <dgm:cxn modelId="{267EF528-9F48-4F91-BC97-8C158838D489}" type="presParOf" srcId="{4030E1EA-B6E6-4E36-A95B-F61252F2FD0B}" destId="{9E6C86F6-1D78-4A9D-915F-319A4D44C7AC}" srcOrd="2" destOrd="0" presId="urn:microsoft.com/office/officeart/2008/layout/HalfCircleOrganizationChart"/>
    <dgm:cxn modelId="{A3C3E1D8-520D-4C14-8065-FFDCDA034979}" type="presParOf" srcId="{4030E1EA-B6E6-4E36-A95B-F61252F2FD0B}" destId="{DF92525F-E148-4B9C-A2CF-347AA1D5511D}" srcOrd="3" destOrd="0" presId="urn:microsoft.com/office/officeart/2008/layout/HalfCircleOrganizationChart"/>
    <dgm:cxn modelId="{7BE93036-C93D-41F1-8F51-03D898C1738F}" type="presParOf" srcId="{924252FE-35ED-4353-B89F-3E703BF4438C}" destId="{DB9DE756-A00A-46F5-9CD0-2BE9C4949AF8}" srcOrd="1" destOrd="0" presId="urn:microsoft.com/office/officeart/2008/layout/HalfCircleOrganizationChart"/>
    <dgm:cxn modelId="{508A3CDB-B80E-4544-84D4-BD8B119FEEFF}" type="presParOf" srcId="{924252FE-35ED-4353-B89F-3E703BF4438C}" destId="{1D48B710-88E5-4E4F-A773-9C6BB91A58C0}" srcOrd="2" destOrd="0" presId="urn:microsoft.com/office/officeart/2008/layout/HalfCircleOrganizationChart"/>
    <dgm:cxn modelId="{4A9B1C1E-7A48-4C1F-9E8A-27BBBCE8EF51}" type="presParOf" srcId="{D30FCD87-D8A6-4D1F-8FE7-CD4766CAC8D9}" destId="{8479F976-9A70-4823-91EF-009B8FC1CD81}" srcOrd="2" destOrd="0" presId="urn:microsoft.com/office/officeart/2008/layout/HalfCircleOrganizationChart"/>
    <dgm:cxn modelId="{AE218B8C-6B34-4C04-A497-9C52BCCC0057}" type="presParOf" srcId="{2BC61B15-986D-434A-8067-E8E0075776F6}" destId="{EE3487B2-8083-4521-BA8E-D5A9852959D5}" srcOrd="2" destOrd="0" presId="urn:microsoft.com/office/officeart/2008/layout/HalfCircleOrganizationChart"/>
    <dgm:cxn modelId="{701A643D-FBD4-43A0-929B-7AC5CA9A252F}" type="presParOf" srcId="{A4D08027-68B4-42FF-B27F-58051424A8B4}" destId="{B56E3C1F-F15C-4856-BA38-4C12973A7178}" srcOrd="2" destOrd="0" presId="urn:microsoft.com/office/officeart/2008/layout/HalfCircleOrganizationChart"/>
    <dgm:cxn modelId="{2FC599D5-9132-42C9-89AC-B73C38E24E9F}" type="presParOf" srcId="{61FF1F74-D407-4178-B621-4FF1B74A3360}" destId="{844CB3EE-293B-4918-8D0F-5D241B0C944C}" srcOrd="2" destOrd="0" presId="urn:microsoft.com/office/officeart/2008/layout/HalfCircleOrganizationChart"/>
    <dgm:cxn modelId="{AB39C088-D041-4996-9C57-2E9D73DF1C48}" type="presParOf" srcId="{3854D6E0-E915-45F3-AE46-AA3B7CC540EE}" destId="{22EBB256-3D11-4911-B8E3-743A847EF3E8}" srcOrd="6" destOrd="0" presId="urn:microsoft.com/office/officeart/2008/layout/HalfCircleOrganizationChart"/>
    <dgm:cxn modelId="{5EB65F80-2095-4D96-9276-064B5631076B}" type="presParOf" srcId="{3854D6E0-E915-45F3-AE46-AA3B7CC540EE}" destId="{B809DB45-A729-4461-B53F-FC76007FE4B2}" srcOrd="7" destOrd="0" presId="urn:microsoft.com/office/officeart/2008/layout/HalfCircleOrganizationChart"/>
    <dgm:cxn modelId="{2C128F00-8C5D-45F9-AE1B-116B5E75F902}" type="presParOf" srcId="{B809DB45-A729-4461-B53F-FC76007FE4B2}" destId="{0C13C974-666A-45C2-BA29-39276BD75D91}" srcOrd="0" destOrd="0" presId="urn:microsoft.com/office/officeart/2008/layout/HalfCircleOrganizationChart"/>
    <dgm:cxn modelId="{8C35212D-A7A8-4F6D-8E0C-D691ED89F5D6}" type="presParOf" srcId="{0C13C974-666A-45C2-BA29-39276BD75D91}" destId="{A27E31B2-63DB-4FE6-97E5-4BC4A2F2992E}" srcOrd="0" destOrd="0" presId="urn:microsoft.com/office/officeart/2008/layout/HalfCircleOrganizationChart"/>
    <dgm:cxn modelId="{77F4D86D-56F6-4C37-B4A3-A2810EDA15D3}" type="presParOf" srcId="{0C13C974-666A-45C2-BA29-39276BD75D91}" destId="{E08443A8-64CC-4679-A716-7B2CC94AC49F}" srcOrd="1" destOrd="0" presId="urn:microsoft.com/office/officeart/2008/layout/HalfCircleOrganizationChart"/>
    <dgm:cxn modelId="{FA2194EF-9FDC-41E8-A2CF-B56BA6329521}" type="presParOf" srcId="{0C13C974-666A-45C2-BA29-39276BD75D91}" destId="{794B34F5-2FAF-49E6-936C-434225D02291}" srcOrd="2" destOrd="0" presId="urn:microsoft.com/office/officeart/2008/layout/HalfCircleOrganizationChart"/>
    <dgm:cxn modelId="{94B521A5-96F6-47AC-ABB1-A5ED214B92D4}" type="presParOf" srcId="{0C13C974-666A-45C2-BA29-39276BD75D91}" destId="{6A6076C2-2CD5-4147-AA6F-6638495DCC1B}" srcOrd="3" destOrd="0" presId="urn:microsoft.com/office/officeart/2008/layout/HalfCircleOrganizationChart"/>
    <dgm:cxn modelId="{BF1CE352-B749-431E-A0A4-9FBE73110552}" type="presParOf" srcId="{B809DB45-A729-4461-B53F-FC76007FE4B2}" destId="{59A9E426-249D-4F42-BB6C-A9A78EC03AF8}" srcOrd="1" destOrd="0" presId="urn:microsoft.com/office/officeart/2008/layout/HalfCircleOrganizationChart"/>
    <dgm:cxn modelId="{FB738459-1967-4B88-8FED-74F1D0D4AC50}" type="presParOf" srcId="{59A9E426-249D-4F42-BB6C-A9A78EC03AF8}" destId="{4293C248-20BC-4951-B910-02D2C5FBC7F0}" srcOrd="0" destOrd="0" presId="urn:microsoft.com/office/officeart/2008/layout/HalfCircleOrganizationChart"/>
    <dgm:cxn modelId="{CFB74160-61C9-49B8-99AF-E7F5FD14943C}" type="presParOf" srcId="{59A9E426-249D-4F42-BB6C-A9A78EC03AF8}" destId="{C6AF0B6D-4206-4EEB-A5E8-6853A135B21F}" srcOrd="1" destOrd="0" presId="urn:microsoft.com/office/officeart/2008/layout/HalfCircleOrganizationChart"/>
    <dgm:cxn modelId="{0BEE7DF6-94A3-4010-8E0B-55D5D6C826EF}" type="presParOf" srcId="{C6AF0B6D-4206-4EEB-A5E8-6853A135B21F}" destId="{9DB4589B-986D-41D8-9498-3202773EA7C7}" srcOrd="0" destOrd="0" presId="urn:microsoft.com/office/officeart/2008/layout/HalfCircleOrganizationChart"/>
    <dgm:cxn modelId="{82B5BBFC-3700-4420-B78A-FD5CCB4E60C7}" type="presParOf" srcId="{9DB4589B-986D-41D8-9498-3202773EA7C7}" destId="{8B0CFDBA-CFCB-425E-805A-F4CD51E85F2A}" srcOrd="0" destOrd="0" presId="urn:microsoft.com/office/officeart/2008/layout/HalfCircleOrganizationChart"/>
    <dgm:cxn modelId="{936276DC-E913-4191-9AF9-1FD02D988768}" type="presParOf" srcId="{9DB4589B-986D-41D8-9498-3202773EA7C7}" destId="{40CF75E2-8486-412E-A423-2234251C20D6}" srcOrd="1" destOrd="0" presId="urn:microsoft.com/office/officeart/2008/layout/HalfCircleOrganizationChart"/>
    <dgm:cxn modelId="{C5B0D5E7-D5B1-47B3-8BD7-EC157C66F967}" type="presParOf" srcId="{9DB4589B-986D-41D8-9498-3202773EA7C7}" destId="{8D5D93A2-500A-4DF5-9700-E8D86195E773}" srcOrd="2" destOrd="0" presId="urn:microsoft.com/office/officeart/2008/layout/HalfCircleOrganizationChart"/>
    <dgm:cxn modelId="{D7E15EB0-4453-4BF6-BA1F-E6968A6A503A}" type="presParOf" srcId="{9DB4589B-986D-41D8-9498-3202773EA7C7}" destId="{DF904935-3204-492D-8CF0-F80D6BA6188B}" srcOrd="3" destOrd="0" presId="urn:microsoft.com/office/officeart/2008/layout/HalfCircleOrganizationChart"/>
    <dgm:cxn modelId="{CC6E4905-9E66-44CF-A387-E02901710F40}" type="presParOf" srcId="{C6AF0B6D-4206-4EEB-A5E8-6853A135B21F}" destId="{196E58FF-B2AC-475B-BC1D-2A64C02C6716}" srcOrd="1" destOrd="0" presId="urn:microsoft.com/office/officeart/2008/layout/HalfCircleOrganizationChart"/>
    <dgm:cxn modelId="{55AE3584-0199-47D1-889E-B7FA604031C0}" type="presParOf" srcId="{196E58FF-B2AC-475B-BC1D-2A64C02C6716}" destId="{714165C8-2F88-47D4-8A73-4C2CA4A2288E}" srcOrd="0" destOrd="0" presId="urn:microsoft.com/office/officeart/2008/layout/HalfCircleOrganizationChart"/>
    <dgm:cxn modelId="{32227CDE-7B20-4066-A5FF-432E299AC1CE}" type="presParOf" srcId="{196E58FF-B2AC-475B-BC1D-2A64C02C6716}" destId="{9DB607BC-02EB-41BD-BE72-131117BD486D}" srcOrd="1" destOrd="0" presId="urn:microsoft.com/office/officeart/2008/layout/HalfCircleOrganizationChart"/>
    <dgm:cxn modelId="{DB8222D1-FA5E-4DE9-8848-BCAEE327BC51}" type="presParOf" srcId="{9DB607BC-02EB-41BD-BE72-131117BD486D}" destId="{BEC7B3BD-E3DD-4E15-BDF3-C59EFA0FB910}" srcOrd="0" destOrd="0" presId="urn:microsoft.com/office/officeart/2008/layout/HalfCircleOrganizationChart"/>
    <dgm:cxn modelId="{16F984C8-01A8-4FA9-B72C-3539E6ABC26E}" type="presParOf" srcId="{BEC7B3BD-E3DD-4E15-BDF3-C59EFA0FB910}" destId="{38F64B2A-30CD-4BF4-8A76-5FBFA123FFC2}" srcOrd="0" destOrd="0" presId="urn:microsoft.com/office/officeart/2008/layout/HalfCircleOrganizationChart"/>
    <dgm:cxn modelId="{79FE3F86-6563-4D1F-8772-F887A9091F69}" type="presParOf" srcId="{BEC7B3BD-E3DD-4E15-BDF3-C59EFA0FB910}" destId="{AF89B63E-E9AD-4EF2-B6E4-B89BF6CC6898}" srcOrd="1" destOrd="0" presId="urn:microsoft.com/office/officeart/2008/layout/HalfCircleOrganizationChart"/>
    <dgm:cxn modelId="{36A49569-53FB-494A-ACBB-D931D54F080F}" type="presParOf" srcId="{BEC7B3BD-E3DD-4E15-BDF3-C59EFA0FB910}" destId="{8D54E135-4F48-46B0-83AB-359E8B6D248B}" srcOrd="2" destOrd="0" presId="urn:microsoft.com/office/officeart/2008/layout/HalfCircleOrganizationChart"/>
    <dgm:cxn modelId="{893238CB-5BF3-42BA-9C8E-E777731208E7}" type="presParOf" srcId="{BEC7B3BD-E3DD-4E15-BDF3-C59EFA0FB910}" destId="{12511906-ABDF-48A5-A16B-3831F5876797}" srcOrd="3" destOrd="0" presId="urn:microsoft.com/office/officeart/2008/layout/HalfCircleOrganizationChart"/>
    <dgm:cxn modelId="{DAF1DA19-5517-4C41-899D-3F950792BB52}" type="presParOf" srcId="{9DB607BC-02EB-41BD-BE72-131117BD486D}" destId="{56C5EB3E-D421-4BF4-8B9C-0B53A6F8F516}" srcOrd="1" destOrd="0" presId="urn:microsoft.com/office/officeart/2008/layout/HalfCircleOrganizationChart"/>
    <dgm:cxn modelId="{7BE7D14B-4CF7-4F67-AB72-9846FFD30EA0}" type="presParOf" srcId="{9DB607BC-02EB-41BD-BE72-131117BD486D}" destId="{C75611D7-E979-4E67-B071-5747EC8A954B}" srcOrd="2" destOrd="0" presId="urn:microsoft.com/office/officeart/2008/layout/HalfCircleOrganizationChart"/>
    <dgm:cxn modelId="{5328E275-15D0-4D9F-BBF3-B48A6A0C9B0A}" type="presParOf" srcId="{C6AF0B6D-4206-4EEB-A5E8-6853A135B21F}" destId="{0756ACDC-B910-49A5-A8D9-91CCDD40147A}" srcOrd="2" destOrd="0" presId="urn:microsoft.com/office/officeart/2008/layout/HalfCircleOrganizationChart"/>
    <dgm:cxn modelId="{9A39018A-058B-45E4-9194-560191AD4ACF}" type="presParOf" srcId="{B809DB45-A729-4461-B53F-FC76007FE4B2}" destId="{FC497DF1-20A8-4756-B17B-2F44C8E8A730}" srcOrd="2" destOrd="0" presId="urn:microsoft.com/office/officeart/2008/layout/HalfCircleOrganizationChart"/>
    <dgm:cxn modelId="{EC477DD3-4013-489D-ACBA-A06625E9D8AF}" type="presParOf" srcId="{EE0FA60F-E371-4915-BD22-DA9EC9159D83}" destId="{E6DD7885-1C5F-4639-B5BD-434F1623ACD1}" srcOrd="2" destOrd="0" presId="urn:microsoft.com/office/officeart/2008/layout/HalfCircleOrganizationChart"/>
    <dgm:cxn modelId="{5163F10A-CAD5-4F0D-A592-2812FC0D9ED5}" type="presParOf" srcId="{8F898A1A-7958-4FBB-A223-DD2B093729B4}" destId="{2E9D9782-8AB5-4324-B9C7-15090862BC9D}" srcOrd="2" destOrd="0" presId="urn:microsoft.com/office/officeart/2008/layout/HalfCircleOrganizationChart"/>
    <dgm:cxn modelId="{0C62635B-50BF-4F9B-9074-C2238C226ED9}" type="presParOf" srcId="{718E4796-761E-4368-8C3C-2AE134DD87E2}" destId="{A5AB5BD9-8DEB-472B-837D-1CCAF7899623}" srcOrd="2" destOrd="0" presId="urn:microsoft.com/office/officeart/2008/layout/HalfCircleOrganizationChart"/>
    <dgm:cxn modelId="{BCDFF0A4-4271-4703-AAC5-83DC70A3150A}" type="presParOf" srcId="{B2AAFAE1-7396-4050-AB53-1C215BCA1585}" destId="{C52C5967-59AE-425F-B006-48CC57177056}" srcOrd="2" destOrd="0" presId="urn:microsoft.com/office/officeart/2008/layout/HalfCircle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4165C8-2F88-47D4-8A73-4C2CA4A2288E}">
      <dsp:nvSpPr>
        <dsp:cNvPr id="0" name=""/>
        <dsp:cNvSpPr/>
      </dsp:nvSpPr>
      <dsp:spPr>
        <a:xfrm>
          <a:off x="3652291" y="1663023"/>
          <a:ext cx="163450" cy="106598"/>
        </a:xfrm>
        <a:custGeom>
          <a:avLst/>
          <a:gdLst/>
          <a:ahLst/>
          <a:cxnLst/>
          <a:rect l="0" t="0" r="0" b="0"/>
          <a:pathLst>
            <a:path>
              <a:moveTo>
                <a:pt x="0" y="0"/>
              </a:moveTo>
              <a:lnTo>
                <a:pt x="0" y="106598"/>
              </a:lnTo>
              <a:lnTo>
                <a:pt x="163450" y="10659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293C248-20BC-4951-B910-02D2C5FBC7F0}">
      <dsp:nvSpPr>
        <dsp:cNvPr id="0" name=""/>
        <dsp:cNvSpPr/>
      </dsp:nvSpPr>
      <dsp:spPr>
        <a:xfrm>
          <a:off x="3606571" y="1365021"/>
          <a:ext cx="91440" cy="91440"/>
        </a:xfrm>
        <a:custGeom>
          <a:avLst/>
          <a:gdLst/>
          <a:ahLst/>
          <a:cxnLst/>
          <a:rect l="0" t="0" r="0" b="0"/>
          <a:pathLst>
            <a:path>
              <a:moveTo>
                <a:pt x="45720" y="45720"/>
              </a:moveTo>
              <a:lnTo>
                <a:pt x="45720" y="12033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2EBB256-3D11-4911-B8E3-743A847EF3E8}">
      <dsp:nvSpPr>
        <dsp:cNvPr id="0" name=""/>
        <dsp:cNvSpPr/>
      </dsp:nvSpPr>
      <dsp:spPr>
        <a:xfrm>
          <a:off x="2891891" y="1112739"/>
          <a:ext cx="760400" cy="91440"/>
        </a:xfrm>
        <a:custGeom>
          <a:avLst/>
          <a:gdLst/>
          <a:ahLst/>
          <a:cxnLst/>
          <a:rect l="0" t="0" r="0" b="0"/>
          <a:pathLst>
            <a:path>
              <a:moveTo>
                <a:pt x="0" y="45720"/>
              </a:moveTo>
              <a:lnTo>
                <a:pt x="0" y="83029"/>
              </a:lnTo>
              <a:lnTo>
                <a:pt x="760400" y="83029"/>
              </a:lnTo>
              <a:lnTo>
                <a:pt x="760400" y="12033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83F6C39-234A-4376-A413-C4D162047342}">
      <dsp:nvSpPr>
        <dsp:cNvPr id="0" name=""/>
        <dsp:cNvSpPr/>
      </dsp:nvSpPr>
      <dsp:spPr>
        <a:xfrm>
          <a:off x="3222345" y="2167588"/>
          <a:ext cx="163450" cy="358880"/>
        </a:xfrm>
        <a:custGeom>
          <a:avLst/>
          <a:gdLst/>
          <a:ahLst/>
          <a:cxnLst/>
          <a:rect l="0" t="0" r="0" b="0"/>
          <a:pathLst>
            <a:path>
              <a:moveTo>
                <a:pt x="0" y="0"/>
              </a:moveTo>
              <a:lnTo>
                <a:pt x="0" y="358880"/>
              </a:lnTo>
              <a:lnTo>
                <a:pt x="163450" y="35888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EF643BC-4F4F-46A8-8AA1-CE5F7E1EB9A0}">
      <dsp:nvSpPr>
        <dsp:cNvPr id="0" name=""/>
        <dsp:cNvSpPr/>
      </dsp:nvSpPr>
      <dsp:spPr>
        <a:xfrm>
          <a:off x="3222345" y="2167588"/>
          <a:ext cx="163450" cy="106598"/>
        </a:xfrm>
        <a:custGeom>
          <a:avLst/>
          <a:gdLst/>
          <a:ahLst/>
          <a:cxnLst/>
          <a:rect l="0" t="0" r="0" b="0"/>
          <a:pathLst>
            <a:path>
              <a:moveTo>
                <a:pt x="0" y="0"/>
              </a:moveTo>
              <a:lnTo>
                <a:pt x="0" y="106598"/>
              </a:lnTo>
              <a:lnTo>
                <a:pt x="163450" y="10659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CDC2940-F0DD-42B3-B50F-8F0C2D470DF0}">
      <dsp:nvSpPr>
        <dsp:cNvPr id="0" name=""/>
        <dsp:cNvSpPr/>
      </dsp:nvSpPr>
      <dsp:spPr>
        <a:xfrm>
          <a:off x="3176625" y="1869586"/>
          <a:ext cx="91440" cy="91440"/>
        </a:xfrm>
        <a:custGeom>
          <a:avLst/>
          <a:gdLst/>
          <a:ahLst/>
          <a:cxnLst/>
          <a:rect l="0" t="0" r="0" b="0"/>
          <a:pathLst>
            <a:path>
              <a:moveTo>
                <a:pt x="45720" y="45720"/>
              </a:moveTo>
              <a:lnTo>
                <a:pt x="45720" y="12033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3D16845-8216-4481-B6E6-20027107F7F1}">
      <dsp:nvSpPr>
        <dsp:cNvPr id="0" name=""/>
        <dsp:cNvSpPr/>
      </dsp:nvSpPr>
      <dsp:spPr>
        <a:xfrm>
          <a:off x="3176625" y="1617303"/>
          <a:ext cx="91440" cy="91440"/>
        </a:xfrm>
        <a:custGeom>
          <a:avLst/>
          <a:gdLst/>
          <a:ahLst/>
          <a:cxnLst/>
          <a:rect l="0" t="0" r="0" b="0"/>
          <a:pathLst>
            <a:path>
              <a:moveTo>
                <a:pt x="45720" y="45720"/>
              </a:moveTo>
              <a:lnTo>
                <a:pt x="45720" y="12033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C1C2A8-CBEF-426D-8906-2B79479C796C}">
      <dsp:nvSpPr>
        <dsp:cNvPr id="0" name=""/>
        <dsp:cNvSpPr/>
      </dsp:nvSpPr>
      <dsp:spPr>
        <a:xfrm>
          <a:off x="3176625" y="1365021"/>
          <a:ext cx="91440" cy="91440"/>
        </a:xfrm>
        <a:custGeom>
          <a:avLst/>
          <a:gdLst/>
          <a:ahLst/>
          <a:cxnLst/>
          <a:rect l="0" t="0" r="0" b="0"/>
          <a:pathLst>
            <a:path>
              <a:moveTo>
                <a:pt x="45720" y="45720"/>
              </a:moveTo>
              <a:lnTo>
                <a:pt x="45720" y="12033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1A169BD-810C-4E79-9F65-CBD829A5B2DE}">
      <dsp:nvSpPr>
        <dsp:cNvPr id="0" name=""/>
        <dsp:cNvSpPr/>
      </dsp:nvSpPr>
      <dsp:spPr>
        <a:xfrm>
          <a:off x="2891891" y="1112739"/>
          <a:ext cx="330454" cy="91440"/>
        </a:xfrm>
        <a:custGeom>
          <a:avLst/>
          <a:gdLst/>
          <a:ahLst/>
          <a:cxnLst/>
          <a:rect l="0" t="0" r="0" b="0"/>
          <a:pathLst>
            <a:path>
              <a:moveTo>
                <a:pt x="0" y="45720"/>
              </a:moveTo>
              <a:lnTo>
                <a:pt x="0" y="83029"/>
              </a:lnTo>
              <a:lnTo>
                <a:pt x="330454" y="83029"/>
              </a:lnTo>
              <a:lnTo>
                <a:pt x="330454" y="12033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6D1617F-9673-4CF2-86B7-0303D89EDB58}">
      <dsp:nvSpPr>
        <dsp:cNvPr id="0" name=""/>
        <dsp:cNvSpPr/>
      </dsp:nvSpPr>
      <dsp:spPr>
        <a:xfrm>
          <a:off x="2561437" y="1410741"/>
          <a:ext cx="163450" cy="106598"/>
        </a:xfrm>
        <a:custGeom>
          <a:avLst/>
          <a:gdLst/>
          <a:ahLst/>
          <a:cxnLst/>
          <a:rect l="0" t="0" r="0" b="0"/>
          <a:pathLst>
            <a:path>
              <a:moveTo>
                <a:pt x="0" y="0"/>
              </a:moveTo>
              <a:lnTo>
                <a:pt x="0" y="106598"/>
              </a:lnTo>
              <a:lnTo>
                <a:pt x="163450" y="10659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87D862-2780-4509-BBC7-4D16DEDD4C87}">
      <dsp:nvSpPr>
        <dsp:cNvPr id="0" name=""/>
        <dsp:cNvSpPr/>
      </dsp:nvSpPr>
      <dsp:spPr>
        <a:xfrm>
          <a:off x="2561437" y="1112739"/>
          <a:ext cx="330454" cy="91440"/>
        </a:xfrm>
        <a:custGeom>
          <a:avLst/>
          <a:gdLst/>
          <a:ahLst/>
          <a:cxnLst/>
          <a:rect l="0" t="0" r="0" b="0"/>
          <a:pathLst>
            <a:path>
              <a:moveTo>
                <a:pt x="330454" y="45720"/>
              </a:moveTo>
              <a:lnTo>
                <a:pt x="330454" y="83029"/>
              </a:lnTo>
              <a:lnTo>
                <a:pt x="0" y="83029"/>
              </a:lnTo>
              <a:lnTo>
                <a:pt x="0" y="12033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BF46260-6774-459C-BA58-ECA0381146FF}">
      <dsp:nvSpPr>
        <dsp:cNvPr id="0" name=""/>
        <dsp:cNvSpPr/>
      </dsp:nvSpPr>
      <dsp:spPr>
        <a:xfrm>
          <a:off x="2131491" y="1410741"/>
          <a:ext cx="163450" cy="358880"/>
        </a:xfrm>
        <a:custGeom>
          <a:avLst/>
          <a:gdLst/>
          <a:ahLst/>
          <a:cxnLst/>
          <a:rect l="0" t="0" r="0" b="0"/>
          <a:pathLst>
            <a:path>
              <a:moveTo>
                <a:pt x="0" y="0"/>
              </a:moveTo>
              <a:lnTo>
                <a:pt x="0" y="358880"/>
              </a:lnTo>
              <a:lnTo>
                <a:pt x="163450" y="35888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BA24B62-E03B-429F-82AE-7DA7814BB6D4}">
      <dsp:nvSpPr>
        <dsp:cNvPr id="0" name=""/>
        <dsp:cNvSpPr/>
      </dsp:nvSpPr>
      <dsp:spPr>
        <a:xfrm>
          <a:off x="2131491" y="1410741"/>
          <a:ext cx="163450" cy="106598"/>
        </a:xfrm>
        <a:custGeom>
          <a:avLst/>
          <a:gdLst/>
          <a:ahLst/>
          <a:cxnLst/>
          <a:rect l="0" t="0" r="0" b="0"/>
          <a:pathLst>
            <a:path>
              <a:moveTo>
                <a:pt x="0" y="0"/>
              </a:moveTo>
              <a:lnTo>
                <a:pt x="0" y="106598"/>
              </a:lnTo>
              <a:lnTo>
                <a:pt x="163450" y="10659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186A9D5-410A-4DE6-A343-D6D0002C1991}">
      <dsp:nvSpPr>
        <dsp:cNvPr id="0" name=""/>
        <dsp:cNvSpPr/>
      </dsp:nvSpPr>
      <dsp:spPr>
        <a:xfrm>
          <a:off x="2131491" y="1112739"/>
          <a:ext cx="760400" cy="91440"/>
        </a:xfrm>
        <a:custGeom>
          <a:avLst/>
          <a:gdLst/>
          <a:ahLst/>
          <a:cxnLst/>
          <a:rect l="0" t="0" r="0" b="0"/>
          <a:pathLst>
            <a:path>
              <a:moveTo>
                <a:pt x="760400" y="45720"/>
              </a:moveTo>
              <a:lnTo>
                <a:pt x="760400" y="83029"/>
              </a:lnTo>
              <a:lnTo>
                <a:pt x="0" y="83029"/>
              </a:lnTo>
              <a:lnTo>
                <a:pt x="0" y="12033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D214354-1BC9-4E20-A62B-52234808F0CA}">
      <dsp:nvSpPr>
        <dsp:cNvPr id="0" name=""/>
        <dsp:cNvSpPr/>
      </dsp:nvSpPr>
      <dsp:spPr>
        <a:xfrm>
          <a:off x="1866772" y="860456"/>
          <a:ext cx="1025118" cy="91440"/>
        </a:xfrm>
        <a:custGeom>
          <a:avLst/>
          <a:gdLst/>
          <a:ahLst/>
          <a:cxnLst/>
          <a:rect l="0" t="0" r="0" b="0"/>
          <a:pathLst>
            <a:path>
              <a:moveTo>
                <a:pt x="0" y="45720"/>
              </a:moveTo>
              <a:lnTo>
                <a:pt x="0" y="83029"/>
              </a:lnTo>
              <a:lnTo>
                <a:pt x="1025118" y="83029"/>
              </a:lnTo>
              <a:lnTo>
                <a:pt x="1025118" y="12033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2A9CA56-9BE3-4F5C-8A86-660431EC7BFB}">
      <dsp:nvSpPr>
        <dsp:cNvPr id="0" name=""/>
        <dsp:cNvSpPr/>
      </dsp:nvSpPr>
      <dsp:spPr>
        <a:xfrm>
          <a:off x="1701545" y="1410741"/>
          <a:ext cx="163450" cy="106598"/>
        </a:xfrm>
        <a:custGeom>
          <a:avLst/>
          <a:gdLst/>
          <a:ahLst/>
          <a:cxnLst/>
          <a:rect l="0" t="0" r="0" b="0"/>
          <a:pathLst>
            <a:path>
              <a:moveTo>
                <a:pt x="0" y="0"/>
              </a:moveTo>
              <a:lnTo>
                <a:pt x="0" y="106598"/>
              </a:lnTo>
              <a:lnTo>
                <a:pt x="163450" y="10659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AB4BD83-2B46-4B45-9AB7-E2D549D0A7FF}">
      <dsp:nvSpPr>
        <dsp:cNvPr id="0" name=""/>
        <dsp:cNvSpPr/>
      </dsp:nvSpPr>
      <dsp:spPr>
        <a:xfrm>
          <a:off x="1655825" y="1112739"/>
          <a:ext cx="91440" cy="91440"/>
        </a:xfrm>
        <a:custGeom>
          <a:avLst/>
          <a:gdLst/>
          <a:ahLst/>
          <a:cxnLst/>
          <a:rect l="0" t="0" r="0" b="0"/>
          <a:pathLst>
            <a:path>
              <a:moveTo>
                <a:pt x="45720" y="45720"/>
              </a:moveTo>
              <a:lnTo>
                <a:pt x="45720" y="12033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712E6BC-7FD1-4055-AE05-0AC0879727E8}">
      <dsp:nvSpPr>
        <dsp:cNvPr id="0" name=""/>
        <dsp:cNvSpPr/>
      </dsp:nvSpPr>
      <dsp:spPr>
        <a:xfrm>
          <a:off x="1701545" y="860456"/>
          <a:ext cx="165227" cy="91440"/>
        </a:xfrm>
        <a:custGeom>
          <a:avLst/>
          <a:gdLst/>
          <a:ahLst/>
          <a:cxnLst/>
          <a:rect l="0" t="0" r="0" b="0"/>
          <a:pathLst>
            <a:path>
              <a:moveTo>
                <a:pt x="165227" y="45720"/>
              </a:moveTo>
              <a:lnTo>
                <a:pt x="165227" y="83029"/>
              </a:lnTo>
              <a:lnTo>
                <a:pt x="0" y="83029"/>
              </a:lnTo>
              <a:lnTo>
                <a:pt x="0" y="12033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EDD9516-EBED-46A4-80AD-96B95706D9AE}">
      <dsp:nvSpPr>
        <dsp:cNvPr id="0" name=""/>
        <dsp:cNvSpPr/>
      </dsp:nvSpPr>
      <dsp:spPr>
        <a:xfrm>
          <a:off x="1271599" y="1915306"/>
          <a:ext cx="163450" cy="358880"/>
        </a:xfrm>
        <a:custGeom>
          <a:avLst/>
          <a:gdLst/>
          <a:ahLst/>
          <a:cxnLst/>
          <a:rect l="0" t="0" r="0" b="0"/>
          <a:pathLst>
            <a:path>
              <a:moveTo>
                <a:pt x="0" y="0"/>
              </a:moveTo>
              <a:lnTo>
                <a:pt x="0" y="358880"/>
              </a:lnTo>
              <a:lnTo>
                <a:pt x="163450" y="35888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570DCCE-18F5-4E59-B6A4-6A51F09F8AEF}">
      <dsp:nvSpPr>
        <dsp:cNvPr id="0" name=""/>
        <dsp:cNvSpPr/>
      </dsp:nvSpPr>
      <dsp:spPr>
        <a:xfrm>
          <a:off x="1271599" y="1915306"/>
          <a:ext cx="163450" cy="106598"/>
        </a:xfrm>
        <a:custGeom>
          <a:avLst/>
          <a:gdLst/>
          <a:ahLst/>
          <a:cxnLst/>
          <a:rect l="0" t="0" r="0" b="0"/>
          <a:pathLst>
            <a:path>
              <a:moveTo>
                <a:pt x="0" y="0"/>
              </a:moveTo>
              <a:lnTo>
                <a:pt x="0" y="106598"/>
              </a:lnTo>
              <a:lnTo>
                <a:pt x="163450" y="10659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116904A-5D55-4D1C-BC03-735E9EE7D038}">
      <dsp:nvSpPr>
        <dsp:cNvPr id="0" name=""/>
        <dsp:cNvSpPr/>
      </dsp:nvSpPr>
      <dsp:spPr>
        <a:xfrm>
          <a:off x="1225879" y="1617303"/>
          <a:ext cx="91440" cy="91440"/>
        </a:xfrm>
        <a:custGeom>
          <a:avLst/>
          <a:gdLst/>
          <a:ahLst/>
          <a:cxnLst/>
          <a:rect l="0" t="0" r="0" b="0"/>
          <a:pathLst>
            <a:path>
              <a:moveTo>
                <a:pt x="45720" y="45720"/>
              </a:moveTo>
              <a:lnTo>
                <a:pt x="45720" y="12033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CEB7884-99F7-451B-829C-4BD11BB29DA5}">
      <dsp:nvSpPr>
        <dsp:cNvPr id="0" name=""/>
        <dsp:cNvSpPr/>
      </dsp:nvSpPr>
      <dsp:spPr>
        <a:xfrm>
          <a:off x="1225879" y="1365021"/>
          <a:ext cx="91440" cy="91440"/>
        </a:xfrm>
        <a:custGeom>
          <a:avLst/>
          <a:gdLst/>
          <a:ahLst/>
          <a:cxnLst/>
          <a:rect l="0" t="0" r="0" b="0"/>
          <a:pathLst>
            <a:path>
              <a:moveTo>
                <a:pt x="45720" y="45720"/>
              </a:moveTo>
              <a:lnTo>
                <a:pt x="45720" y="12033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61B8DF3-62A7-41F3-82E2-B6A4D974E7AF}">
      <dsp:nvSpPr>
        <dsp:cNvPr id="0" name=""/>
        <dsp:cNvSpPr/>
      </dsp:nvSpPr>
      <dsp:spPr>
        <a:xfrm>
          <a:off x="1225879" y="1112739"/>
          <a:ext cx="91440" cy="91440"/>
        </a:xfrm>
        <a:custGeom>
          <a:avLst/>
          <a:gdLst/>
          <a:ahLst/>
          <a:cxnLst/>
          <a:rect l="0" t="0" r="0" b="0"/>
          <a:pathLst>
            <a:path>
              <a:moveTo>
                <a:pt x="45720" y="45720"/>
              </a:moveTo>
              <a:lnTo>
                <a:pt x="45720" y="12033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6A2D432-B58E-40C1-9A82-A27476AD2F7E}">
      <dsp:nvSpPr>
        <dsp:cNvPr id="0" name=""/>
        <dsp:cNvSpPr/>
      </dsp:nvSpPr>
      <dsp:spPr>
        <a:xfrm>
          <a:off x="1271599" y="860456"/>
          <a:ext cx="595172" cy="91440"/>
        </a:xfrm>
        <a:custGeom>
          <a:avLst/>
          <a:gdLst/>
          <a:ahLst/>
          <a:cxnLst/>
          <a:rect l="0" t="0" r="0" b="0"/>
          <a:pathLst>
            <a:path>
              <a:moveTo>
                <a:pt x="595172" y="45720"/>
              </a:moveTo>
              <a:lnTo>
                <a:pt x="595172" y="83029"/>
              </a:lnTo>
              <a:lnTo>
                <a:pt x="0" y="83029"/>
              </a:lnTo>
              <a:lnTo>
                <a:pt x="0" y="12033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E6E3EB4-9ABE-4F8A-A22C-4D4E72CA575A}">
      <dsp:nvSpPr>
        <dsp:cNvPr id="0" name=""/>
        <dsp:cNvSpPr/>
      </dsp:nvSpPr>
      <dsp:spPr>
        <a:xfrm>
          <a:off x="841654" y="860456"/>
          <a:ext cx="1025118" cy="91440"/>
        </a:xfrm>
        <a:custGeom>
          <a:avLst/>
          <a:gdLst/>
          <a:ahLst/>
          <a:cxnLst/>
          <a:rect l="0" t="0" r="0" b="0"/>
          <a:pathLst>
            <a:path>
              <a:moveTo>
                <a:pt x="1025118" y="45720"/>
              </a:moveTo>
              <a:lnTo>
                <a:pt x="1025118" y="83029"/>
              </a:lnTo>
              <a:lnTo>
                <a:pt x="0" y="83029"/>
              </a:lnTo>
              <a:lnTo>
                <a:pt x="0" y="12033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F740B0E-601A-4F7A-A458-97DFD17CB6B5}">
      <dsp:nvSpPr>
        <dsp:cNvPr id="0" name=""/>
        <dsp:cNvSpPr/>
      </dsp:nvSpPr>
      <dsp:spPr>
        <a:xfrm>
          <a:off x="1023759" y="608174"/>
          <a:ext cx="843013" cy="91440"/>
        </a:xfrm>
        <a:custGeom>
          <a:avLst/>
          <a:gdLst/>
          <a:ahLst/>
          <a:cxnLst/>
          <a:rect l="0" t="0" r="0" b="0"/>
          <a:pathLst>
            <a:path>
              <a:moveTo>
                <a:pt x="0" y="45720"/>
              </a:moveTo>
              <a:lnTo>
                <a:pt x="0" y="83029"/>
              </a:lnTo>
              <a:lnTo>
                <a:pt x="843013" y="83029"/>
              </a:lnTo>
              <a:lnTo>
                <a:pt x="843013" y="12033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6ECCC44-33A4-4CA1-A2AD-0BF0AB5E9B93}">
      <dsp:nvSpPr>
        <dsp:cNvPr id="0" name=""/>
        <dsp:cNvSpPr/>
      </dsp:nvSpPr>
      <dsp:spPr>
        <a:xfrm>
          <a:off x="180745" y="906176"/>
          <a:ext cx="163450" cy="358880"/>
        </a:xfrm>
        <a:custGeom>
          <a:avLst/>
          <a:gdLst/>
          <a:ahLst/>
          <a:cxnLst/>
          <a:rect l="0" t="0" r="0" b="0"/>
          <a:pathLst>
            <a:path>
              <a:moveTo>
                <a:pt x="0" y="0"/>
              </a:moveTo>
              <a:lnTo>
                <a:pt x="0" y="358880"/>
              </a:lnTo>
              <a:lnTo>
                <a:pt x="163450" y="35888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50714AE-A374-4101-9A2D-B44735231374}">
      <dsp:nvSpPr>
        <dsp:cNvPr id="0" name=""/>
        <dsp:cNvSpPr/>
      </dsp:nvSpPr>
      <dsp:spPr>
        <a:xfrm>
          <a:off x="180745" y="906176"/>
          <a:ext cx="163450" cy="106598"/>
        </a:xfrm>
        <a:custGeom>
          <a:avLst/>
          <a:gdLst/>
          <a:ahLst/>
          <a:cxnLst/>
          <a:rect l="0" t="0" r="0" b="0"/>
          <a:pathLst>
            <a:path>
              <a:moveTo>
                <a:pt x="0" y="0"/>
              </a:moveTo>
              <a:lnTo>
                <a:pt x="0" y="106598"/>
              </a:lnTo>
              <a:lnTo>
                <a:pt x="163450" y="10659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9CAA90F-B10D-4491-B6DC-42E3E9A873C6}">
      <dsp:nvSpPr>
        <dsp:cNvPr id="0" name=""/>
        <dsp:cNvSpPr/>
      </dsp:nvSpPr>
      <dsp:spPr>
        <a:xfrm>
          <a:off x="180745" y="608174"/>
          <a:ext cx="843013" cy="91440"/>
        </a:xfrm>
        <a:custGeom>
          <a:avLst/>
          <a:gdLst/>
          <a:ahLst/>
          <a:cxnLst/>
          <a:rect l="0" t="0" r="0" b="0"/>
          <a:pathLst>
            <a:path>
              <a:moveTo>
                <a:pt x="843013" y="45720"/>
              </a:moveTo>
              <a:lnTo>
                <a:pt x="843013" y="83029"/>
              </a:lnTo>
              <a:lnTo>
                <a:pt x="0" y="83029"/>
              </a:lnTo>
              <a:lnTo>
                <a:pt x="0" y="12033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41A39D9-DF4E-440E-9ED5-0F751B5F9057}">
      <dsp:nvSpPr>
        <dsp:cNvPr id="0" name=""/>
        <dsp:cNvSpPr/>
      </dsp:nvSpPr>
      <dsp:spPr>
        <a:xfrm>
          <a:off x="808786" y="366422"/>
          <a:ext cx="214972" cy="91440"/>
        </a:xfrm>
        <a:custGeom>
          <a:avLst/>
          <a:gdLst/>
          <a:ahLst/>
          <a:cxnLst/>
          <a:rect l="0" t="0" r="0" b="0"/>
          <a:pathLst>
            <a:path>
              <a:moveTo>
                <a:pt x="0" y="45720"/>
              </a:moveTo>
              <a:lnTo>
                <a:pt x="0" y="90347"/>
              </a:lnTo>
              <a:lnTo>
                <a:pt x="214972" y="90347"/>
              </a:lnTo>
              <a:lnTo>
                <a:pt x="214972" y="1276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E1E7C9-4917-4E9C-8339-745DEF43DCE9}">
      <dsp:nvSpPr>
        <dsp:cNvPr id="0" name=""/>
        <dsp:cNvSpPr/>
      </dsp:nvSpPr>
      <dsp:spPr>
        <a:xfrm>
          <a:off x="452796" y="366422"/>
          <a:ext cx="355989" cy="91440"/>
        </a:xfrm>
        <a:custGeom>
          <a:avLst/>
          <a:gdLst/>
          <a:ahLst/>
          <a:cxnLst/>
          <a:rect l="0" t="0" r="0" b="0"/>
          <a:pathLst>
            <a:path>
              <a:moveTo>
                <a:pt x="355989" y="45720"/>
              </a:moveTo>
              <a:lnTo>
                <a:pt x="355989" y="83029"/>
              </a:lnTo>
              <a:lnTo>
                <a:pt x="0" y="83029"/>
              </a:lnTo>
              <a:lnTo>
                <a:pt x="0" y="12033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E9224A7-1545-4AC4-8579-9B93CEFF94F9}">
      <dsp:nvSpPr>
        <dsp:cNvPr id="0" name=""/>
        <dsp:cNvSpPr/>
      </dsp:nvSpPr>
      <dsp:spPr>
        <a:xfrm>
          <a:off x="719954" y="234479"/>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AADB1A9-BE65-4DF2-B639-BB0F7C111163}">
      <dsp:nvSpPr>
        <dsp:cNvPr id="0" name=""/>
        <dsp:cNvSpPr/>
      </dsp:nvSpPr>
      <dsp:spPr>
        <a:xfrm>
          <a:off x="719954" y="234479"/>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9366E7F-6A6E-41FA-A7C8-DE1EBAFF6B52}">
      <dsp:nvSpPr>
        <dsp:cNvPr id="0" name=""/>
        <dsp:cNvSpPr/>
      </dsp:nvSpPr>
      <dsp:spPr>
        <a:xfrm>
          <a:off x="631122" y="266458"/>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a:t>Pain.001</a:t>
          </a:r>
          <a:endParaRPr lang="en-ZA" sz="500" kern="1200" dirty="0"/>
        </a:p>
      </dsp:txBody>
      <dsp:txXfrm>
        <a:off x="631122" y="266458"/>
        <a:ext cx="355327" cy="113704"/>
      </dsp:txXfrm>
    </dsp:sp>
    <dsp:sp modelId="{F953C57F-281A-4A94-911A-6FAC02AFAE83}">
      <dsp:nvSpPr>
        <dsp:cNvPr id="0" name=""/>
        <dsp:cNvSpPr/>
      </dsp:nvSpPr>
      <dsp:spPr>
        <a:xfrm>
          <a:off x="363964" y="486761"/>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CD464EE-DCA7-4197-9B90-A976CF110C9F}">
      <dsp:nvSpPr>
        <dsp:cNvPr id="0" name=""/>
        <dsp:cNvSpPr/>
      </dsp:nvSpPr>
      <dsp:spPr>
        <a:xfrm>
          <a:off x="363964" y="486761"/>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7CA699A-1A94-47E1-B5F4-4F1975DE0FCF}">
      <dsp:nvSpPr>
        <dsp:cNvPr id="0" name=""/>
        <dsp:cNvSpPr/>
      </dsp:nvSpPr>
      <dsp:spPr>
        <a:xfrm>
          <a:off x="275132" y="518740"/>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err="1"/>
            <a:t>TxTp</a:t>
          </a:r>
          <a:endParaRPr lang="en-ZA" sz="500" kern="1200" dirty="0"/>
        </a:p>
      </dsp:txBody>
      <dsp:txXfrm>
        <a:off x="275132" y="518740"/>
        <a:ext cx="355327" cy="113704"/>
      </dsp:txXfrm>
    </dsp:sp>
    <dsp:sp modelId="{995C14E7-8405-466C-B93A-2EF3CE026134}">
      <dsp:nvSpPr>
        <dsp:cNvPr id="0" name=""/>
        <dsp:cNvSpPr/>
      </dsp:nvSpPr>
      <dsp:spPr>
        <a:xfrm>
          <a:off x="864418" y="494079"/>
          <a:ext cx="318680" cy="159815"/>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8908B38-86FD-4DCD-8D3F-DF53E56E083A}">
      <dsp:nvSpPr>
        <dsp:cNvPr id="0" name=""/>
        <dsp:cNvSpPr/>
      </dsp:nvSpPr>
      <dsp:spPr>
        <a:xfrm>
          <a:off x="864418" y="494079"/>
          <a:ext cx="318680" cy="159815"/>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B88BA2E-7E15-48D5-92C0-12D4B29A658A}">
      <dsp:nvSpPr>
        <dsp:cNvPr id="0" name=""/>
        <dsp:cNvSpPr/>
      </dsp:nvSpPr>
      <dsp:spPr>
        <a:xfrm>
          <a:off x="705078" y="522845"/>
          <a:ext cx="637360" cy="102281"/>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err="1"/>
            <a:t>CstmrCdtTrfInitn</a:t>
          </a:r>
          <a:endParaRPr lang="en-ZA" sz="500" kern="1200" dirty="0"/>
        </a:p>
      </dsp:txBody>
      <dsp:txXfrm>
        <a:off x="705078" y="522845"/>
        <a:ext cx="637360" cy="102281"/>
      </dsp:txXfrm>
    </dsp:sp>
    <dsp:sp modelId="{6217FC5F-5064-48D5-AB32-8FF1887B4E25}">
      <dsp:nvSpPr>
        <dsp:cNvPr id="0" name=""/>
        <dsp:cNvSpPr/>
      </dsp:nvSpPr>
      <dsp:spPr>
        <a:xfrm>
          <a:off x="91913" y="728513"/>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CCCBE76-9DF0-44F7-AE74-4CC7F8B64BF3}">
      <dsp:nvSpPr>
        <dsp:cNvPr id="0" name=""/>
        <dsp:cNvSpPr/>
      </dsp:nvSpPr>
      <dsp:spPr>
        <a:xfrm>
          <a:off x="91913" y="728513"/>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CCCFC77-723E-427E-B338-7E6F187A388F}">
      <dsp:nvSpPr>
        <dsp:cNvPr id="0" name=""/>
        <dsp:cNvSpPr/>
      </dsp:nvSpPr>
      <dsp:spPr>
        <a:xfrm>
          <a:off x="3081" y="760492"/>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err="1"/>
            <a:t>GrpHdr</a:t>
          </a:r>
          <a:endParaRPr lang="en-ZA" sz="500" kern="1200" dirty="0"/>
        </a:p>
      </dsp:txBody>
      <dsp:txXfrm>
        <a:off x="3081" y="760492"/>
        <a:ext cx="355327" cy="113704"/>
      </dsp:txXfrm>
    </dsp:sp>
    <dsp:sp modelId="{4FE317B6-F7FD-4646-8AE9-DA818C662145}">
      <dsp:nvSpPr>
        <dsp:cNvPr id="0" name=""/>
        <dsp:cNvSpPr/>
      </dsp:nvSpPr>
      <dsp:spPr>
        <a:xfrm>
          <a:off x="322876" y="980795"/>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F78F68C-CC1A-4046-97B3-6108A277B8AC}">
      <dsp:nvSpPr>
        <dsp:cNvPr id="0" name=""/>
        <dsp:cNvSpPr/>
      </dsp:nvSpPr>
      <dsp:spPr>
        <a:xfrm>
          <a:off x="322876" y="980795"/>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29175AE-4B39-44A8-A902-80C910CE344D}">
      <dsp:nvSpPr>
        <dsp:cNvPr id="0" name=""/>
        <dsp:cNvSpPr/>
      </dsp:nvSpPr>
      <dsp:spPr>
        <a:xfrm>
          <a:off x="234044" y="1012775"/>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err="1"/>
            <a:t>MsgId</a:t>
          </a:r>
          <a:endParaRPr lang="en-ZA" sz="500" kern="1200" dirty="0"/>
        </a:p>
      </dsp:txBody>
      <dsp:txXfrm>
        <a:off x="234044" y="1012775"/>
        <a:ext cx="355327" cy="113704"/>
      </dsp:txXfrm>
    </dsp:sp>
    <dsp:sp modelId="{7B937A49-0FC7-4E20-987D-989F9C2C0152}">
      <dsp:nvSpPr>
        <dsp:cNvPr id="0" name=""/>
        <dsp:cNvSpPr/>
      </dsp:nvSpPr>
      <dsp:spPr>
        <a:xfrm>
          <a:off x="322876" y="1233077"/>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729FAB0-C196-4FAF-90C6-AC8270CB3B2C}">
      <dsp:nvSpPr>
        <dsp:cNvPr id="0" name=""/>
        <dsp:cNvSpPr/>
      </dsp:nvSpPr>
      <dsp:spPr>
        <a:xfrm>
          <a:off x="322876" y="1233077"/>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449AC6C-F545-4E48-B6B4-425CFC658D71}">
      <dsp:nvSpPr>
        <dsp:cNvPr id="0" name=""/>
        <dsp:cNvSpPr/>
      </dsp:nvSpPr>
      <dsp:spPr>
        <a:xfrm>
          <a:off x="234044" y="1265057"/>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err="1"/>
            <a:t>CreDtTm</a:t>
          </a:r>
          <a:endParaRPr lang="en-ZA" sz="500" kern="1200" dirty="0"/>
        </a:p>
      </dsp:txBody>
      <dsp:txXfrm>
        <a:off x="234044" y="1265057"/>
        <a:ext cx="355327" cy="113704"/>
      </dsp:txXfrm>
    </dsp:sp>
    <dsp:sp modelId="{81CA8E44-B2F1-4CE4-A652-4984C02CDF02}">
      <dsp:nvSpPr>
        <dsp:cNvPr id="0" name=""/>
        <dsp:cNvSpPr/>
      </dsp:nvSpPr>
      <dsp:spPr>
        <a:xfrm>
          <a:off x="1777941" y="728513"/>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314EC38-9305-4CAD-A67B-C3E3AD28B96B}">
      <dsp:nvSpPr>
        <dsp:cNvPr id="0" name=""/>
        <dsp:cNvSpPr/>
      </dsp:nvSpPr>
      <dsp:spPr>
        <a:xfrm>
          <a:off x="1777941" y="728513"/>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09B8C55-F589-4FA5-9EA4-4FFD2B6B781C}">
      <dsp:nvSpPr>
        <dsp:cNvPr id="0" name=""/>
        <dsp:cNvSpPr/>
      </dsp:nvSpPr>
      <dsp:spPr>
        <a:xfrm>
          <a:off x="1689109" y="760492"/>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err="1"/>
            <a:t>PmtInf</a:t>
          </a:r>
          <a:endParaRPr lang="en-ZA" sz="500" kern="1200" dirty="0"/>
        </a:p>
      </dsp:txBody>
      <dsp:txXfrm>
        <a:off x="1689109" y="760492"/>
        <a:ext cx="355327" cy="113704"/>
      </dsp:txXfrm>
    </dsp:sp>
    <dsp:sp modelId="{4A3DF27A-EB5C-4281-8836-9EB4D98F12EE}">
      <dsp:nvSpPr>
        <dsp:cNvPr id="0" name=""/>
        <dsp:cNvSpPr/>
      </dsp:nvSpPr>
      <dsp:spPr>
        <a:xfrm>
          <a:off x="752822" y="980795"/>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0507202-652E-4F31-81F6-4BC5538EEC45}">
      <dsp:nvSpPr>
        <dsp:cNvPr id="0" name=""/>
        <dsp:cNvSpPr/>
      </dsp:nvSpPr>
      <dsp:spPr>
        <a:xfrm>
          <a:off x="752822" y="980795"/>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143FFA-F6E3-4072-BF54-7AADD1946B3B}">
      <dsp:nvSpPr>
        <dsp:cNvPr id="0" name=""/>
        <dsp:cNvSpPr/>
      </dsp:nvSpPr>
      <dsp:spPr>
        <a:xfrm>
          <a:off x="663990" y="1012775"/>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err="1"/>
            <a:t>PmtInfId</a:t>
          </a:r>
          <a:endParaRPr lang="en-ZA" sz="500" kern="1200" dirty="0"/>
        </a:p>
      </dsp:txBody>
      <dsp:txXfrm>
        <a:off x="663990" y="1012775"/>
        <a:ext cx="355327" cy="113704"/>
      </dsp:txXfrm>
    </dsp:sp>
    <dsp:sp modelId="{F2401BFE-862A-44D7-94B5-9F63E3DCF580}">
      <dsp:nvSpPr>
        <dsp:cNvPr id="0" name=""/>
        <dsp:cNvSpPr/>
      </dsp:nvSpPr>
      <dsp:spPr>
        <a:xfrm>
          <a:off x="1182768" y="980795"/>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763FEDE-2533-4DD0-93D4-070E760BABAC}">
      <dsp:nvSpPr>
        <dsp:cNvPr id="0" name=""/>
        <dsp:cNvSpPr/>
      </dsp:nvSpPr>
      <dsp:spPr>
        <a:xfrm>
          <a:off x="1182768" y="980795"/>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D935055-3BD8-419E-9707-01D97E48D997}">
      <dsp:nvSpPr>
        <dsp:cNvPr id="0" name=""/>
        <dsp:cNvSpPr/>
      </dsp:nvSpPr>
      <dsp:spPr>
        <a:xfrm>
          <a:off x="1093936" y="1012775"/>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err="1"/>
            <a:t>Dbtr</a:t>
          </a:r>
          <a:endParaRPr lang="en-ZA" sz="500" kern="1200" dirty="0"/>
        </a:p>
      </dsp:txBody>
      <dsp:txXfrm>
        <a:off x="1093936" y="1012775"/>
        <a:ext cx="355327" cy="113704"/>
      </dsp:txXfrm>
    </dsp:sp>
    <dsp:sp modelId="{7D03D7EC-7564-43F6-9CE7-CF5CFF0DAA28}">
      <dsp:nvSpPr>
        <dsp:cNvPr id="0" name=""/>
        <dsp:cNvSpPr/>
      </dsp:nvSpPr>
      <dsp:spPr>
        <a:xfrm>
          <a:off x="1182768" y="1233077"/>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386EAD0-82BB-4699-B9C2-F8120412E4B5}">
      <dsp:nvSpPr>
        <dsp:cNvPr id="0" name=""/>
        <dsp:cNvSpPr/>
      </dsp:nvSpPr>
      <dsp:spPr>
        <a:xfrm>
          <a:off x="1182768" y="1233077"/>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53DA5B7-6108-45C6-BF0A-F837833E157D}">
      <dsp:nvSpPr>
        <dsp:cNvPr id="0" name=""/>
        <dsp:cNvSpPr/>
      </dsp:nvSpPr>
      <dsp:spPr>
        <a:xfrm>
          <a:off x="1093936" y="1265057"/>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a:t>Id</a:t>
          </a:r>
          <a:endParaRPr lang="en-ZA" sz="500" kern="1200" dirty="0"/>
        </a:p>
      </dsp:txBody>
      <dsp:txXfrm>
        <a:off x="1093936" y="1265057"/>
        <a:ext cx="355327" cy="113704"/>
      </dsp:txXfrm>
    </dsp:sp>
    <dsp:sp modelId="{9931BC70-64F1-4F23-BBBB-4D92896B9430}">
      <dsp:nvSpPr>
        <dsp:cNvPr id="0" name=""/>
        <dsp:cNvSpPr/>
      </dsp:nvSpPr>
      <dsp:spPr>
        <a:xfrm>
          <a:off x="1182768" y="1485360"/>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A613793-196D-4EC0-9808-F1C8509D4781}">
      <dsp:nvSpPr>
        <dsp:cNvPr id="0" name=""/>
        <dsp:cNvSpPr/>
      </dsp:nvSpPr>
      <dsp:spPr>
        <a:xfrm>
          <a:off x="1182768" y="1485360"/>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D3BD8AF-F9F6-4BDD-A6BE-0F76BE37B178}">
      <dsp:nvSpPr>
        <dsp:cNvPr id="0" name=""/>
        <dsp:cNvSpPr/>
      </dsp:nvSpPr>
      <dsp:spPr>
        <a:xfrm>
          <a:off x="1093936" y="1517339"/>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err="1"/>
            <a:t>PrvtId</a:t>
          </a:r>
          <a:endParaRPr lang="en-ZA" sz="500" kern="1200" dirty="0"/>
        </a:p>
      </dsp:txBody>
      <dsp:txXfrm>
        <a:off x="1093936" y="1517339"/>
        <a:ext cx="355327" cy="113704"/>
      </dsp:txXfrm>
    </dsp:sp>
    <dsp:sp modelId="{BBEFA44D-6107-460C-B6BE-85DC1F7781A8}">
      <dsp:nvSpPr>
        <dsp:cNvPr id="0" name=""/>
        <dsp:cNvSpPr/>
      </dsp:nvSpPr>
      <dsp:spPr>
        <a:xfrm>
          <a:off x="1182768" y="1737642"/>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399396E-7E4C-4B18-88EA-B4E053015215}">
      <dsp:nvSpPr>
        <dsp:cNvPr id="0" name=""/>
        <dsp:cNvSpPr/>
      </dsp:nvSpPr>
      <dsp:spPr>
        <a:xfrm>
          <a:off x="1182768" y="1737642"/>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ADF5DBA-6C53-4566-8611-22A0B4A4A1A3}">
      <dsp:nvSpPr>
        <dsp:cNvPr id="0" name=""/>
        <dsp:cNvSpPr/>
      </dsp:nvSpPr>
      <dsp:spPr>
        <a:xfrm>
          <a:off x="1093936" y="1769621"/>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a:t>Other</a:t>
          </a:r>
          <a:endParaRPr lang="en-ZA" sz="500" kern="1200" dirty="0"/>
        </a:p>
      </dsp:txBody>
      <dsp:txXfrm>
        <a:off x="1093936" y="1769621"/>
        <a:ext cx="355327" cy="113704"/>
      </dsp:txXfrm>
    </dsp:sp>
    <dsp:sp modelId="{C7E8D8A4-4CAD-49E0-98B5-12FE39DFEDCE}">
      <dsp:nvSpPr>
        <dsp:cNvPr id="0" name=""/>
        <dsp:cNvSpPr/>
      </dsp:nvSpPr>
      <dsp:spPr>
        <a:xfrm>
          <a:off x="1413730" y="1989924"/>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8B325F8-571A-43CD-9B99-8EA7C3CD5EF6}">
      <dsp:nvSpPr>
        <dsp:cNvPr id="0" name=""/>
        <dsp:cNvSpPr/>
      </dsp:nvSpPr>
      <dsp:spPr>
        <a:xfrm>
          <a:off x="1413730" y="1989924"/>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BCBEB7F-11B8-4EE8-A527-6CBCE70CB7F1}">
      <dsp:nvSpPr>
        <dsp:cNvPr id="0" name=""/>
        <dsp:cNvSpPr/>
      </dsp:nvSpPr>
      <dsp:spPr>
        <a:xfrm>
          <a:off x="1324898" y="2021904"/>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b="1" kern="1200" dirty="0"/>
            <a:t>MSISDN</a:t>
          </a:r>
          <a:endParaRPr lang="en-ZA" sz="500" b="1" kern="1200" dirty="0"/>
        </a:p>
      </dsp:txBody>
      <dsp:txXfrm>
        <a:off x="1324898" y="2021904"/>
        <a:ext cx="355327" cy="113704"/>
      </dsp:txXfrm>
    </dsp:sp>
    <dsp:sp modelId="{EE39BE0D-4566-4AD0-9527-7ADA09B07E1D}">
      <dsp:nvSpPr>
        <dsp:cNvPr id="0" name=""/>
        <dsp:cNvSpPr/>
      </dsp:nvSpPr>
      <dsp:spPr>
        <a:xfrm>
          <a:off x="1413730" y="2242206"/>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F63627B-8A37-4CC6-A37A-10F308791174}">
      <dsp:nvSpPr>
        <dsp:cNvPr id="0" name=""/>
        <dsp:cNvSpPr/>
      </dsp:nvSpPr>
      <dsp:spPr>
        <a:xfrm>
          <a:off x="1413730" y="2242206"/>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F8153EE-DFD2-4CB9-9A36-36158312123E}">
      <dsp:nvSpPr>
        <dsp:cNvPr id="0" name=""/>
        <dsp:cNvSpPr/>
      </dsp:nvSpPr>
      <dsp:spPr>
        <a:xfrm>
          <a:off x="1324898" y="2274186"/>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b="1" kern="1200" dirty="0"/>
            <a:t>ACTIO_EID</a:t>
          </a:r>
          <a:endParaRPr lang="en-ZA" sz="500" b="1" kern="1200" dirty="0"/>
        </a:p>
      </dsp:txBody>
      <dsp:txXfrm>
        <a:off x="1324898" y="2274186"/>
        <a:ext cx="355327" cy="113704"/>
      </dsp:txXfrm>
    </dsp:sp>
    <dsp:sp modelId="{525C6E27-AF84-4633-8872-072CFDBB43B2}">
      <dsp:nvSpPr>
        <dsp:cNvPr id="0" name=""/>
        <dsp:cNvSpPr/>
      </dsp:nvSpPr>
      <dsp:spPr>
        <a:xfrm>
          <a:off x="1612713" y="980795"/>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F3029D-223B-4087-A7C4-CA639E343A64}">
      <dsp:nvSpPr>
        <dsp:cNvPr id="0" name=""/>
        <dsp:cNvSpPr/>
      </dsp:nvSpPr>
      <dsp:spPr>
        <a:xfrm>
          <a:off x="1612713" y="980795"/>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FC54A92-3CB6-4D19-A279-E79D2406BF14}">
      <dsp:nvSpPr>
        <dsp:cNvPr id="0" name=""/>
        <dsp:cNvSpPr/>
      </dsp:nvSpPr>
      <dsp:spPr>
        <a:xfrm>
          <a:off x="1523882" y="1012775"/>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err="1"/>
            <a:t>DbtrAcct</a:t>
          </a:r>
          <a:endParaRPr lang="en-ZA" sz="500" kern="1200" dirty="0"/>
        </a:p>
      </dsp:txBody>
      <dsp:txXfrm>
        <a:off x="1523882" y="1012775"/>
        <a:ext cx="355327" cy="113704"/>
      </dsp:txXfrm>
    </dsp:sp>
    <dsp:sp modelId="{10E64542-779D-4FF5-A485-76BD09B0725F}">
      <dsp:nvSpPr>
        <dsp:cNvPr id="0" name=""/>
        <dsp:cNvSpPr/>
      </dsp:nvSpPr>
      <dsp:spPr>
        <a:xfrm>
          <a:off x="1612713" y="1233077"/>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0AB33CB-C9FD-439C-B6B0-0691554E50A8}">
      <dsp:nvSpPr>
        <dsp:cNvPr id="0" name=""/>
        <dsp:cNvSpPr/>
      </dsp:nvSpPr>
      <dsp:spPr>
        <a:xfrm>
          <a:off x="1612713" y="1233077"/>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2D3982B-23BC-40E8-AECE-595D7184167E}">
      <dsp:nvSpPr>
        <dsp:cNvPr id="0" name=""/>
        <dsp:cNvSpPr/>
      </dsp:nvSpPr>
      <dsp:spPr>
        <a:xfrm>
          <a:off x="1523882" y="1265057"/>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a:t>Id</a:t>
          </a:r>
          <a:endParaRPr lang="en-ZA" sz="500" kern="1200" dirty="0"/>
        </a:p>
      </dsp:txBody>
      <dsp:txXfrm>
        <a:off x="1523882" y="1265057"/>
        <a:ext cx="355327" cy="113704"/>
      </dsp:txXfrm>
    </dsp:sp>
    <dsp:sp modelId="{591D2FBF-DA54-46AC-9411-0B403AF17451}">
      <dsp:nvSpPr>
        <dsp:cNvPr id="0" name=""/>
        <dsp:cNvSpPr/>
      </dsp:nvSpPr>
      <dsp:spPr>
        <a:xfrm>
          <a:off x="1843676" y="1485360"/>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4845FAF-DE0D-4548-96F5-1357BB1EFDBE}">
      <dsp:nvSpPr>
        <dsp:cNvPr id="0" name=""/>
        <dsp:cNvSpPr/>
      </dsp:nvSpPr>
      <dsp:spPr>
        <a:xfrm>
          <a:off x="1843676" y="1485360"/>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A6713B7-CB0B-49C4-934C-2E09F172A298}">
      <dsp:nvSpPr>
        <dsp:cNvPr id="0" name=""/>
        <dsp:cNvSpPr/>
      </dsp:nvSpPr>
      <dsp:spPr>
        <a:xfrm>
          <a:off x="1754844" y="1517339"/>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b="1" kern="1200" dirty="0"/>
            <a:t>PSEUDO</a:t>
          </a:r>
          <a:endParaRPr lang="en-ZA" sz="500" b="1" kern="1200" dirty="0"/>
        </a:p>
      </dsp:txBody>
      <dsp:txXfrm>
        <a:off x="1754844" y="1517339"/>
        <a:ext cx="355327" cy="113704"/>
      </dsp:txXfrm>
    </dsp:sp>
    <dsp:sp modelId="{708BEEC2-6CF7-4B9E-A4D1-A11A2958B523}">
      <dsp:nvSpPr>
        <dsp:cNvPr id="0" name=""/>
        <dsp:cNvSpPr/>
      </dsp:nvSpPr>
      <dsp:spPr>
        <a:xfrm>
          <a:off x="2803059" y="980795"/>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1827426-8340-4F5C-9E21-B0B3D7767106}">
      <dsp:nvSpPr>
        <dsp:cNvPr id="0" name=""/>
        <dsp:cNvSpPr/>
      </dsp:nvSpPr>
      <dsp:spPr>
        <a:xfrm>
          <a:off x="2803059" y="980795"/>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31C2BC-874C-41E8-BD87-5B90C2B9D84D}">
      <dsp:nvSpPr>
        <dsp:cNvPr id="0" name=""/>
        <dsp:cNvSpPr/>
      </dsp:nvSpPr>
      <dsp:spPr>
        <a:xfrm>
          <a:off x="2714228" y="1012775"/>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err="1"/>
            <a:t>CdtTrfTxInf</a:t>
          </a:r>
          <a:endParaRPr lang="en-ZA" sz="500" kern="1200" dirty="0"/>
        </a:p>
      </dsp:txBody>
      <dsp:txXfrm>
        <a:off x="2714228" y="1012775"/>
        <a:ext cx="355327" cy="113704"/>
      </dsp:txXfrm>
    </dsp:sp>
    <dsp:sp modelId="{B1844273-23FE-4469-A5EC-D67929035DC2}">
      <dsp:nvSpPr>
        <dsp:cNvPr id="0" name=""/>
        <dsp:cNvSpPr/>
      </dsp:nvSpPr>
      <dsp:spPr>
        <a:xfrm>
          <a:off x="2042659" y="1233077"/>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745D407-E32D-4A4C-B988-5AC1C72A1B28}">
      <dsp:nvSpPr>
        <dsp:cNvPr id="0" name=""/>
        <dsp:cNvSpPr/>
      </dsp:nvSpPr>
      <dsp:spPr>
        <a:xfrm>
          <a:off x="2042659" y="1233077"/>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5F8405C-2E41-4960-9C76-1165569BC6D5}">
      <dsp:nvSpPr>
        <dsp:cNvPr id="0" name=""/>
        <dsp:cNvSpPr/>
      </dsp:nvSpPr>
      <dsp:spPr>
        <a:xfrm>
          <a:off x="1953828" y="1265057"/>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a:t>Amt</a:t>
          </a:r>
          <a:endParaRPr lang="en-ZA" sz="500" kern="1200" dirty="0"/>
        </a:p>
      </dsp:txBody>
      <dsp:txXfrm>
        <a:off x="1953828" y="1265057"/>
        <a:ext cx="355327" cy="113704"/>
      </dsp:txXfrm>
    </dsp:sp>
    <dsp:sp modelId="{55E5BA2D-E2B2-497F-BA4F-B331E30D2CEA}">
      <dsp:nvSpPr>
        <dsp:cNvPr id="0" name=""/>
        <dsp:cNvSpPr/>
      </dsp:nvSpPr>
      <dsp:spPr>
        <a:xfrm>
          <a:off x="2273622" y="1485360"/>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6254195-86C9-4258-B722-05726242C32F}">
      <dsp:nvSpPr>
        <dsp:cNvPr id="0" name=""/>
        <dsp:cNvSpPr/>
      </dsp:nvSpPr>
      <dsp:spPr>
        <a:xfrm>
          <a:off x="2273622" y="1485360"/>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4945396-EB6B-4209-9A69-F8565939B00A}">
      <dsp:nvSpPr>
        <dsp:cNvPr id="0" name=""/>
        <dsp:cNvSpPr/>
      </dsp:nvSpPr>
      <dsp:spPr>
        <a:xfrm>
          <a:off x="2184790" y="1517339"/>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a:t>Amt</a:t>
          </a:r>
          <a:endParaRPr lang="en-ZA" sz="500" kern="1200" dirty="0"/>
        </a:p>
      </dsp:txBody>
      <dsp:txXfrm>
        <a:off x="2184790" y="1517339"/>
        <a:ext cx="355327" cy="113704"/>
      </dsp:txXfrm>
    </dsp:sp>
    <dsp:sp modelId="{F1ABC4E1-497B-4A2E-A8AB-1714513E6DC1}">
      <dsp:nvSpPr>
        <dsp:cNvPr id="0" name=""/>
        <dsp:cNvSpPr/>
      </dsp:nvSpPr>
      <dsp:spPr>
        <a:xfrm>
          <a:off x="2273622" y="1737642"/>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D73B9D7-F2CC-426A-A391-B3DB3382EEE6}">
      <dsp:nvSpPr>
        <dsp:cNvPr id="0" name=""/>
        <dsp:cNvSpPr/>
      </dsp:nvSpPr>
      <dsp:spPr>
        <a:xfrm>
          <a:off x="2273622" y="1737642"/>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2A1CC7A-EE46-4477-AD3B-7CC8BC3BB483}">
      <dsp:nvSpPr>
        <dsp:cNvPr id="0" name=""/>
        <dsp:cNvSpPr/>
      </dsp:nvSpPr>
      <dsp:spPr>
        <a:xfrm>
          <a:off x="2184790" y="1769621"/>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a:t>Ccy</a:t>
          </a:r>
          <a:endParaRPr lang="en-ZA" sz="500" kern="1200" dirty="0"/>
        </a:p>
      </dsp:txBody>
      <dsp:txXfrm>
        <a:off x="2184790" y="1769621"/>
        <a:ext cx="355327" cy="113704"/>
      </dsp:txXfrm>
    </dsp:sp>
    <dsp:sp modelId="{4E8CA305-BDB4-46B0-9D5B-ECC72D3E0198}">
      <dsp:nvSpPr>
        <dsp:cNvPr id="0" name=""/>
        <dsp:cNvSpPr/>
      </dsp:nvSpPr>
      <dsp:spPr>
        <a:xfrm>
          <a:off x="2472605" y="1233077"/>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F5ADA26-A8D6-4B6B-A8C0-E18F082C93F7}">
      <dsp:nvSpPr>
        <dsp:cNvPr id="0" name=""/>
        <dsp:cNvSpPr/>
      </dsp:nvSpPr>
      <dsp:spPr>
        <a:xfrm>
          <a:off x="2472605" y="1233077"/>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0BB7528-CBD4-4F63-A658-B7B4111947AE}">
      <dsp:nvSpPr>
        <dsp:cNvPr id="0" name=""/>
        <dsp:cNvSpPr/>
      </dsp:nvSpPr>
      <dsp:spPr>
        <a:xfrm>
          <a:off x="2383773" y="1265057"/>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err="1"/>
            <a:t>PmtId</a:t>
          </a:r>
          <a:endParaRPr lang="en-ZA" sz="500" kern="1200" dirty="0"/>
        </a:p>
      </dsp:txBody>
      <dsp:txXfrm>
        <a:off x="2383773" y="1265057"/>
        <a:ext cx="355327" cy="113704"/>
      </dsp:txXfrm>
    </dsp:sp>
    <dsp:sp modelId="{7D080EC5-E569-4813-BDFB-65BCE7D9AA11}">
      <dsp:nvSpPr>
        <dsp:cNvPr id="0" name=""/>
        <dsp:cNvSpPr/>
      </dsp:nvSpPr>
      <dsp:spPr>
        <a:xfrm>
          <a:off x="2703568" y="1485360"/>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B61147C-74D2-4E05-9447-9600D87F29D0}">
      <dsp:nvSpPr>
        <dsp:cNvPr id="0" name=""/>
        <dsp:cNvSpPr/>
      </dsp:nvSpPr>
      <dsp:spPr>
        <a:xfrm>
          <a:off x="2703568" y="1485360"/>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2B18196-30B6-43C1-9EB1-3D50E4D7D9E5}">
      <dsp:nvSpPr>
        <dsp:cNvPr id="0" name=""/>
        <dsp:cNvSpPr/>
      </dsp:nvSpPr>
      <dsp:spPr>
        <a:xfrm>
          <a:off x="2614736" y="1517339"/>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err="1"/>
            <a:t>EndToEndId</a:t>
          </a:r>
          <a:endParaRPr lang="en-ZA" sz="500" kern="1200" dirty="0"/>
        </a:p>
      </dsp:txBody>
      <dsp:txXfrm>
        <a:off x="2614736" y="1517339"/>
        <a:ext cx="355327" cy="113704"/>
      </dsp:txXfrm>
    </dsp:sp>
    <dsp:sp modelId="{D13DE31D-685A-4D51-ACD6-1B8AE2467040}">
      <dsp:nvSpPr>
        <dsp:cNvPr id="0" name=""/>
        <dsp:cNvSpPr/>
      </dsp:nvSpPr>
      <dsp:spPr>
        <a:xfrm>
          <a:off x="3133514" y="1233077"/>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9E2FF7F-8701-4501-8088-BC2FEE0A77BB}">
      <dsp:nvSpPr>
        <dsp:cNvPr id="0" name=""/>
        <dsp:cNvSpPr/>
      </dsp:nvSpPr>
      <dsp:spPr>
        <a:xfrm>
          <a:off x="3133514" y="1233077"/>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5E308E2-14EE-4167-99B7-E48388E91FE2}">
      <dsp:nvSpPr>
        <dsp:cNvPr id="0" name=""/>
        <dsp:cNvSpPr/>
      </dsp:nvSpPr>
      <dsp:spPr>
        <a:xfrm>
          <a:off x="3044682" y="1265057"/>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err="1"/>
            <a:t>Cdtr</a:t>
          </a:r>
          <a:endParaRPr lang="en-ZA" sz="500" kern="1200" dirty="0"/>
        </a:p>
      </dsp:txBody>
      <dsp:txXfrm>
        <a:off x="3044682" y="1265057"/>
        <a:ext cx="355327" cy="113704"/>
      </dsp:txXfrm>
    </dsp:sp>
    <dsp:sp modelId="{E8B8891B-AF47-453E-8270-41585D39ED68}">
      <dsp:nvSpPr>
        <dsp:cNvPr id="0" name=""/>
        <dsp:cNvSpPr/>
      </dsp:nvSpPr>
      <dsp:spPr>
        <a:xfrm>
          <a:off x="3133514" y="1485360"/>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A8D8577-E8EB-4A5D-B2DC-798B85D7D0AC}">
      <dsp:nvSpPr>
        <dsp:cNvPr id="0" name=""/>
        <dsp:cNvSpPr/>
      </dsp:nvSpPr>
      <dsp:spPr>
        <a:xfrm>
          <a:off x="3133514" y="1485360"/>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85BC826-EEDF-424E-B0FE-44D8A474144B}">
      <dsp:nvSpPr>
        <dsp:cNvPr id="0" name=""/>
        <dsp:cNvSpPr/>
      </dsp:nvSpPr>
      <dsp:spPr>
        <a:xfrm>
          <a:off x="3044682" y="1517339"/>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a:t>Id</a:t>
          </a:r>
          <a:endParaRPr lang="en-ZA" sz="500" kern="1200" dirty="0"/>
        </a:p>
      </dsp:txBody>
      <dsp:txXfrm>
        <a:off x="3044682" y="1517339"/>
        <a:ext cx="355327" cy="113704"/>
      </dsp:txXfrm>
    </dsp:sp>
    <dsp:sp modelId="{05E3CCAD-796B-488D-9217-48EA495D83DF}">
      <dsp:nvSpPr>
        <dsp:cNvPr id="0" name=""/>
        <dsp:cNvSpPr/>
      </dsp:nvSpPr>
      <dsp:spPr>
        <a:xfrm>
          <a:off x="3133514" y="1737642"/>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3F8DDBB-AD9F-42E8-8431-7519AB2EA6D9}">
      <dsp:nvSpPr>
        <dsp:cNvPr id="0" name=""/>
        <dsp:cNvSpPr/>
      </dsp:nvSpPr>
      <dsp:spPr>
        <a:xfrm>
          <a:off x="3133514" y="1737642"/>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808A228-8482-47D1-BAC3-85F3888F6C3F}">
      <dsp:nvSpPr>
        <dsp:cNvPr id="0" name=""/>
        <dsp:cNvSpPr/>
      </dsp:nvSpPr>
      <dsp:spPr>
        <a:xfrm>
          <a:off x="3044682" y="1769621"/>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err="1"/>
            <a:t>PrvtId</a:t>
          </a:r>
          <a:endParaRPr lang="en-ZA" sz="500" kern="1200" dirty="0"/>
        </a:p>
      </dsp:txBody>
      <dsp:txXfrm>
        <a:off x="3044682" y="1769621"/>
        <a:ext cx="355327" cy="113704"/>
      </dsp:txXfrm>
    </dsp:sp>
    <dsp:sp modelId="{34F1F683-3BAF-43A0-B64E-481298910AAC}">
      <dsp:nvSpPr>
        <dsp:cNvPr id="0" name=""/>
        <dsp:cNvSpPr/>
      </dsp:nvSpPr>
      <dsp:spPr>
        <a:xfrm>
          <a:off x="3133514" y="1989924"/>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C062BCD-B4C1-4274-B99A-02B54EF7C7E8}">
      <dsp:nvSpPr>
        <dsp:cNvPr id="0" name=""/>
        <dsp:cNvSpPr/>
      </dsp:nvSpPr>
      <dsp:spPr>
        <a:xfrm>
          <a:off x="3133514" y="1989924"/>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FDBE3C2-A79C-4A4E-B3B3-BB25F9A731D5}">
      <dsp:nvSpPr>
        <dsp:cNvPr id="0" name=""/>
        <dsp:cNvSpPr/>
      </dsp:nvSpPr>
      <dsp:spPr>
        <a:xfrm>
          <a:off x="3044682" y="2021904"/>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a:t>Other</a:t>
          </a:r>
          <a:endParaRPr lang="en-ZA" sz="500" kern="1200" dirty="0"/>
        </a:p>
      </dsp:txBody>
      <dsp:txXfrm>
        <a:off x="3044682" y="2021904"/>
        <a:ext cx="355327" cy="113704"/>
      </dsp:txXfrm>
    </dsp:sp>
    <dsp:sp modelId="{94F792EA-BD23-47EF-8E75-BB6B867ACAB1}">
      <dsp:nvSpPr>
        <dsp:cNvPr id="0" name=""/>
        <dsp:cNvSpPr/>
      </dsp:nvSpPr>
      <dsp:spPr>
        <a:xfrm>
          <a:off x="3364476" y="2242206"/>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BBFE295-F057-4690-93C6-60D90DF27833}">
      <dsp:nvSpPr>
        <dsp:cNvPr id="0" name=""/>
        <dsp:cNvSpPr/>
      </dsp:nvSpPr>
      <dsp:spPr>
        <a:xfrm>
          <a:off x="3364476" y="2242206"/>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93E6230-EE15-4267-B281-2C4C5093C6BF}">
      <dsp:nvSpPr>
        <dsp:cNvPr id="0" name=""/>
        <dsp:cNvSpPr/>
      </dsp:nvSpPr>
      <dsp:spPr>
        <a:xfrm>
          <a:off x="3275645" y="2274186"/>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b="1" kern="1200" dirty="0"/>
            <a:t>MSISDN</a:t>
          </a:r>
          <a:endParaRPr lang="en-ZA" sz="500" b="1" kern="1200" dirty="0"/>
        </a:p>
      </dsp:txBody>
      <dsp:txXfrm>
        <a:off x="3275645" y="2274186"/>
        <a:ext cx="355327" cy="113704"/>
      </dsp:txXfrm>
    </dsp:sp>
    <dsp:sp modelId="{9CC3EA5D-C517-4CBB-B190-20A1BE9440C6}">
      <dsp:nvSpPr>
        <dsp:cNvPr id="0" name=""/>
        <dsp:cNvSpPr/>
      </dsp:nvSpPr>
      <dsp:spPr>
        <a:xfrm>
          <a:off x="3364476" y="2494489"/>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E6C86F6-1D78-4A9D-915F-319A4D44C7AC}">
      <dsp:nvSpPr>
        <dsp:cNvPr id="0" name=""/>
        <dsp:cNvSpPr/>
      </dsp:nvSpPr>
      <dsp:spPr>
        <a:xfrm>
          <a:off x="3364476" y="2494489"/>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7FFA4BD-688F-41BC-B615-17F587C30FD5}">
      <dsp:nvSpPr>
        <dsp:cNvPr id="0" name=""/>
        <dsp:cNvSpPr/>
      </dsp:nvSpPr>
      <dsp:spPr>
        <a:xfrm>
          <a:off x="3275645" y="2526468"/>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b="1" kern="1200" dirty="0"/>
            <a:t>ACTIO_EID</a:t>
          </a:r>
          <a:endParaRPr lang="en-ZA" sz="500" b="1" kern="1200" dirty="0"/>
        </a:p>
      </dsp:txBody>
      <dsp:txXfrm>
        <a:off x="3275645" y="2526468"/>
        <a:ext cx="355327" cy="113704"/>
      </dsp:txXfrm>
    </dsp:sp>
    <dsp:sp modelId="{E08443A8-64CC-4679-A716-7B2CC94AC49F}">
      <dsp:nvSpPr>
        <dsp:cNvPr id="0" name=""/>
        <dsp:cNvSpPr/>
      </dsp:nvSpPr>
      <dsp:spPr>
        <a:xfrm>
          <a:off x="3563460" y="1233077"/>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94B34F5-2FAF-49E6-936C-434225D02291}">
      <dsp:nvSpPr>
        <dsp:cNvPr id="0" name=""/>
        <dsp:cNvSpPr/>
      </dsp:nvSpPr>
      <dsp:spPr>
        <a:xfrm>
          <a:off x="3563460" y="1233077"/>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27E31B2-63DB-4FE6-97E5-4BC4A2F2992E}">
      <dsp:nvSpPr>
        <dsp:cNvPr id="0" name=""/>
        <dsp:cNvSpPr/>
      </dsp:nvSpPr>
      <dsp:spPr>
        <a:xfrm>
          <a:off x="3474628" y="1265057"/>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err="1"/>
            <a:t>CdtrAcct</a:t>
          </a:r>
          <a:endParaRPr lang="en-ZA" sz="500" kern="1200" dirty="0"/>
        </a:p>
      </dsp:txBody>
      <dsp:txXfrm>
        <a:off x="3474628" y="1265057"/>
        <a:ext cx="355327" cy="113704"/>
      </dsp:txXfrm>
    </dsp:sp>
    <dsp:sp modelId="{40CF75E2-8486-412E-A423-2234251C20D6}">
      <dsp:nvSpPr>
        <dsp:cNvPr id="0" name=""/>
        <dsp:cNvSpPr/>
      </dsp:nvSpPr>
      <dsp:spPr>
        <a:xfrm>
          <a:off x="3563460" y="1485360"/>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D5D93A2-500A-4DF5-9700-E8D86195E773}">
      <dsp:nvSpPr>
        <dsp:cNvPr id="0" name=""/>
        <dsp:cNvSpPr/>
      </dsp:nvSpPr>
      <dsp:spPr>
        <a:xfrm>
          <a:off x="3563460" y="1485360"/>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B0CFDBA-CFCB-425E-805A-F4CD51E85F2A}">
      <dsp:nvSpPr>
        <dsp:cNvPr id="0" name=""/>
        <dsp:cNvSpPr/>
      </dsp:nvSpPr>
      <dsp:spPr>
        <a:xfrm>
          <a:off x="3474628" y="1517339"/>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kern="1200" dirty="0"/>
            <a:t>Id</a:t>
          </a:r>
          <a:endParaRPr lang="en-ZA" sz="500" kern="1200" dirty="0"/>
        </a:p>
      </dsp:txBody>
      <dsp:txXfrm>
        <a:off x="3474628" y="1517339"/>
        <a:ext cx="355327" cy="113704"/>
      </dsp:txXfrm>
    </dsp:sp>
    <dsp:sp modelId="{AF89B63E-E9AD-4EF2-B6E4-B89BF6CC6898}">
      <dsp:nvSpPr>
        <dsp:cNvPr id="0" name=""/>
        <dsp:cNvSpPr/>
      </dsp:nvSpPr>
      <dsp:spPr>
        <a:xfrm>
          <a:off x="3794422" y="1737642"/>
          <a:ext cx="177663" cy="17766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D54E135-4F48-46B0-83AB-359E8B6D248B}">
      <dsp:nvSpPr>
        <dsp:cNvPr id="0" name=""/>
        <dsp:cNvSpPr/>
      </dsp:nvSpPr>
      <dsp:spPr>
        <a:xfrm>
          <a:off x="3794422" y="1737642"/>
          <a:ext cx="177663" cy="17766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8F64B2A-30CD-4BF4-8A76-5FBFA123FFC2}">
      <dsp:nvSpPr>
        <dsp:cNvPr id="0" name=""/>
        <dsp:cNvSpPr/>
      </dsp:nvSpPr>
      <dsp:spPr>
        <a:xfrm>
          <a:off x="3705590" y="1769621"/>
          <a:ext cx="355327" cy="11370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175" tIns="3175" rIns="3175" bIns="3175" numCol="1" spcCol="1270" anchor="ctr" anchorCtr="0">
          <a:noAutofit/>
        </a:bodyPr>
        <a:lstStyle/>
        <a:p>
          <a:pPr marL="0" lvl="0" indent="0" algn="ctr" defTabSz="222250">
            <a:lnSpc>
              <a:spcPct val="90000"/>
            </a:lnSpc>
            <a:spcBef>
              <a:spcPct val="0"/>
            </a:spcBef>
            <a:spcAft>
              <a:spcPct val="35000"/>
            </a:spcAft>
            <a:buNone/>
          </a:pPr>
          <a:r>
            <a:rPr lang="en-GB" sz="500" b="1" kern="1200" dirty="0"/>
            <a:t>PSEUDO</a:t>
          </a:r>
          <a:endParaRPr lang="en-ZA" sz="500" b="1" kern="1200" dirty="0"/>
        </a:p>
      </dsp:txBody>
      <dsp:txXfrm>
        <a:off x="3705590" y="1769621"/>
        <a:ext cx="355327" cy="113704"/>
      </dsp:txXfrm>
    </dsp:sp>
  </dsp:spTree>
</dsp:drawing>
</file>

<file path=ppt/diagrams/layout1.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E22FA8-AA76-480E-A055-869193E015E8}" type="datetimeFigureOut">
              <a:rPr lang="en-ZA" smtClean="0"/>
              <a:t>2022/04/26</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30D140-B404-471D-ACCB-4A23C940FE49}" type="slidenum">
              <a:rPr lang="en-ZA" smtClean="0"/>
              <a:t>‹#›</a:t>
            </a:fld>
            <a:endParaRPr lang="en-ZA"/>
          </a:p>
        </p:txBody>
      </p:sp>
    </p:spTree>
    <p:extLst>
      <p:ext uri="{BB962C8B-B14F-4D97-AF65-F5344CB8AC3E}">
        <p14:creationId xmlns:p14="http://schemas.microsoft.com/office/powerpoint/2010/main" val="20208833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a:t>Mojaloop does not intend to interdict a transaction, but a direct route to a DFSP can be provided that can interdict, and faster.</a:t>
            </a:r>
          </a:p>
          <a:p>
            <a:r>
              <a:rPr lang="en-ZA"/>
              <a:t>Architecture primarily focused on Mojaloop scale, but needs to cope with a small DFSP as well.</a:t>
            </a:r>
          </a:p>
          <a:p>
            <a:r>
              <a:rPr lang="en-ZA"/>
              <a:t>Data related to the transaction that is required for transaction monitoring is assumed to be supplied within the hub transaction messages.</a:t>
            </a:r>
          </a:p>
          <a:p>
            <a:r>
              <a:rPr lang="en-ZA"/>
              <a:t>Data that is not available in the hub transaction message, we have architected and tested the ability to collect additional required information from other sources, including the payer and payee DFSPs.</a:t>
            </a:r>
          </a:p>
        </p:txBody>
      </p:sp>
      <p:sp>
        <p:nvSpPr>
          <p:cNvPr id="4" name="Slide Number Placeholder 3"/>
          <p:cNvSpPr>
            <a:spLocks noGrp="1"/>
          </p:cNvSpPr>
          <p:nvPr>
            <p:ph type="sldNum" sz="quarter" idx="5"/>
          </p:nvPr>
        </p:nvSpPr>
        <p:spPr/>
        <p:txBody>
          <a:bodyPr/>
          <a:lstStyle/>
          <a:p>
            <a:fld id="{4430D140-B404-471D-ACCB-4A23C940FE49}" type="slidenum">
              <a:rPr lang="en-ZA" smtClean="0"/>
              <a:t>4</a:t>
            </a:fld>
            <a:endParaRPr lang="en-ZA"/>
          </a:p>
        </p:txBody>
      </p:sp>
    </p:spTree>
    <p:extLst>
      <p:ext uri="{BB962C8B-B14F-4D97-AF65-F5344CB8AC3E}">
        <p14:creationId xmlns:p14="http://schemas.microsoft.com/office/powerpoint/2010/main" val="16827078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4430D140-B404-471D-ACCB-4A23C940FE49}" type="slidenum">
              <a:rPr lang="en-ZA" smtClean="0"/>
              <a:t>14</a:t>
            </a:fld>
            <a:endParaRPr lang="en-ZA"/>
          </a:p>
        </p:txBody>
      </p:sp>
    </p:spTree>
    <p:extLst>
      <p:ext uri="{BB962C8B-B14F-4D97-AF65-F5344CB8AC3E}">
        <p14:creationId xmlns:p14="http://schemas.microsoft.com/office/powerpoint/2010/main" val="41826512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21/+31 minutes</a:t>
            </a:r>
            <a:endParaRPr lang="en-ZA" dirty="0"/>
          </a:p>
        </p:txBody>
      </p:sp>
      <p:sp>
        <p:nvSpPr>
          <p:cNvPr id="4" name="Slide Number Placeholder 3"/>
          <p:cNvSpPr>
            <a:spLocks noGrp="1"/>
          </p:cNvSpPr>
          <p:nvPr>
            <p:ph type="sldNum" sz="quarter" idx="5"/>
          </p:nvPr>
        </p:nvSpPr>
        <p:spPr/>
        <p:txBody>
          <a:bodyPr/>
          <a:lstStyle/>
          <a:p>
            <a:fld id="{4430D140-B404-471D-ACCB-4A23C940FE49}" type="slidenum">
              <a:rPr lang="en-ZA" smtClean="0"/>
              <a:t>15</a:t>
            </a:fld>
            <a:endParaRPr lang="en-ZA"/>
          </a:p>
        </p:txBody>
      </p:sp>
    </p:spTree>
    <p:extLst>
      <p:ext uri="{BB962C8B-B14F-4D97-AF65-F5344CB8AC3E}">
        <p14:creationId xmlns:p14="http://schemas.microsoft.com/office/powerpoint/2010/main" val="21045230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4430D140-B404-471D-ACCB-4A23C940FE49}" type="slidenum">
              <a:rPr lang="en-ZA" smtClean="0"/>
              <a:t>5</a:t>
            </a:fld>
            <a:endParaRPr lang="en-ZA"/>
          </a:p>
        </p:txBody>
      </p:sp>
    </p:spTree>
    <p:extLst>
      <p:ext uri="{BB962C8B-B14F-4D97-AF65-F5344CB8AC3E}">
        <p14:creationId xmlns:p14="http://schemas.microsoft.com/office/powerpoint/2010/main" val="5199308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4430D140-B404-471D-ACCB-4A23C940FE49}" type="slidenum">
              <a:rPr lang="en-ZA" smtClean="0"/>
              <a:t>6</a:t>
            </a:fld>
            <a:endParaRPr lang="en-ZA"/>
          </a:p>
        </p:txBody>
      </p:sp>
    </p:spTree>
    <p:extLst>
      <p:ext uri="{BB962C8B-B14F-4D97-AF65-F5344CB8AC3E}">
        <p14:creationId xmlns:p14="http://schemas.microsoft.com/office/powerpoint/2010/main" val="3967917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4430D140-B404-471D-ACCB-4A23C940FE49}" type="slidenum">
              <a:rPr lang="en-ZA" smtClean="0"/>
              <a:t>8</a:t>
            </a:fld>
            <a:endParaRPr lang="en-ZA"/>
          </a:p>
        </p:txBody>
      </p:sp>
    </p:spTree>
    <p:extLst>
      <p:ext uri="{BB962C8B-B14F-4D97-AF65-F5344CB8AC3E}">
        <p14:creationId xmlns:p14="http://schemas.microsoft.com/office/powerpoint/2010/main" val="26598312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4430D140-B404-471D-ACCB-4A23C940FE49}" type="slidenum">
              <a:rPr lang="en-ZA" smtClean="0"/>
              <a:t>9</a:t>
            </a:fld>
            <a:endParaRPr lang="en-ZA"/>
          </a:p>
        </p:txBody>
      </p:sp>
    </p:spTree>
    <p:extLst>
      <p:ext uri="{BB962C8B-B14F-4D97-AF65-F5344CB8AC3E}">
        <p14:creationId xmlns:p14="http://schemas.microsoft.com/office/powerpoint/2010/main" val="38108400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4430D140-B404-471D-ACCB-4A23C940FE49}" type="slidenum">
              <a:rPr lang="en-ZA" smtClean="0"/>
              <a:t>10</a:t>
            </a:fld>
            <a:endParaRPr lang="en-ZA"/>
          </a:p>
        </p:txBody>
      </p:sp>
    </p:spTree>
    <p:extLst>
      <p:ext uri="{BB962C8B-B14F-4D97-AF65-F5344CB8AC3E}">
        <p14:creationId xmlns:p14="http://schemas.microsoft.com/office/powerpoint/2010/main" val="405087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4430D140-B404-471D-ACCB-4A23C940FE49}" type="slidenum">
              <a:rPr lang="en-ZA" smtClean="0"/>
              <a:t>11</a:t>
            </a:fld>
            <a:endParaRPr lang="en-ZA"/>
          </a:p>
        </p:txBody>
      </p:sp>
    </p:spTree>
    <p:extLst>
      <p:ext uri="{BB962C8B-B14F-4D97-AF65-F5344CB8AC3E}">
        <p14:creationId xmlns:p14="http://schemas.microsoft.com/office/powerpoint/2010/main" val="12590749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4430D140-B404-471D-ACCB-4A23C940FE49}" type="slidenum">
              <a:rPr lang="en-ZA" smtClean="0"/>
              <a:t>12</a:t>
            </a:fld>
            <a:endParaRPr lang="en-ZA"/>
          </a:p>
        </p:txBody>
      </p:sp>
    </p:spTree>
    <p:extLst>
      <p:ext uri="{BB962C8B-B14F-4D97-AF65-F5344CB8AC3E}">
        <p14:creationId xmlns:p14="http://schemas.microsoft.com/office/powerpoint/2010/main" val="23779025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4430D140-B404-471D-ACCB-4A23C940FE49}" type="slidenum">
              <a:rPr lang="en-ZA" smtClean="0"/>
              <a:t>13</a:t>
            </a:fld>
            <a:endParaRPr lang="en-ZA"/>
          </a:p>
        </p:txBody>
      </p:sp>
    </p:spTree>
    <p:extLst>
      <p:ext uri="{BB962C8B-B14F-4D97-AF65-F5344CB8AC3E}">
        <p14:creationId xmlns:p14="http://schemas.microsoft.com/office/powerpoint/2010/main" val="13540870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385D03-CE6F-48E8-813A-4FAB71FCEE2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ZA"/>
          </a:p>
        </p:txBody>
      </p:sp>
      <p:sp>
        <p:nvSpPr>
          <p:cNvPr id="3" name="Subtitle 2">
            <a:extLst>
              <a:ext uri="{FF2B5EF4-FFF2-40B4-BE49-F238E27FC236}">
                <a16:creationId xmlns:a16="http://schemas.microsoft.com/office/drawing/2014/main" id="{DBB0E188-4C44-4A78-ACF9-FAB69B67D2D6}"/>
              </a:ext>
            </a:extLst>
          </p:cNvPr>
          <p:cNvSpPr>
            <a:spLocks noGrp="1"/>
          </p:cNvSpPr>
          <p:nvPr>
            <p:ph type="subTitle" idx="1"/>
          </p:nvPr>
        </p:nvSpPr>
        <p:spPr>
          <a:xfrm>
            <a:off x="1524000" y="3602038"/>
            <a:ext cx="9144000" cy="1655762"/>
          </a:xfrm>
        </p:spPr>
        <p:txBody>
          <a:bodyPr>
            <a:no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a:extLst>
              <a:ext uri="{FF2B5EF4-FFF2-40B4-BE49-F238E27FC236}">
                <a16:creationId xmlns:a16="http://schemas.microsoft.com/office/drawing/2014/main" id="{9C93BA56-9E5E-415A-93F5-CF269AB5D282}"/>
              </a:ext>
            </a:extLst>
          </p:cNvPr>
          <p:cNvSpPr>
            <a:spLocks noGrp="1"/>
          </p:cNvSpPr>
          <p:nvPr>
            <p:ph type="dt" sz="half" idx="10"/>
          </p:nvPr>
        </p:nvSpPr>
        <p:spPr/>
        <p:txBody>
          <a:bodyPr/>
          <a:lstStyle/>
          <a:p>
            <a:fld id="{4DE93D9E-E077-4E39-8C2F-FAD529FFDD7F}" type="datetimeFigureOut">
              <a:rPr lang="en-ZA" smtClean="0"/>
              <a:t>2022/04/26</a:t>
            </a:fld>
            <a:endParaRPr lang="en-ZA"/>
          </a:p>
        </p:txBody>
      </p:sp>
      <p:sp>
        <p:nvSpPr>
          <p:cNvPr id="5" name="Footer Placeholder 4">
            <a:extLst>
              <a:ext uri="{FF2B5EF4-FFF2-40B4-BE49-F238E27FC236}">
                <a16:creationId xmlns:a16="http://schemas.microsoft.com/office/drawing/2014/main" id="{8824E9B2-E1F2-426B-A43C-FEC2A000A87A}"/>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05067765-8AF5-46B6-9F4F-264257073F96}"/>
              </a:ext>
            </a:extLst>
          </p:cNvPr>
          <p:cNvSpPr>
            <a:spLocks noGrp="1"/>
          </p:cNvSpPr>
          <p:nvPr>
            <p:ph type="sldNum" sz="quarter" idx="12"/>
          </p:nvPr>
        </p:nvSpPr>
        <p:spPr/>
        <p:txBody>
          <a:bodyPr/>
          <a:lstStyle/>
          <a:p>
            <a:fld id="{FC3FF7A7-BFAF-4B0F-90CB-8094933CE192}" type="slidenum">
              <a:rPr lang="en-ZA" smtClean="0"/>
              <a:t>‹#›</a:t>
            </a:fld>
            <a:endParaRPr lang="en-ZA"/>
          </a:p>
        </p:txBody>
      </p:sp>
      <p:pic>
        <p:nvPicPr>
          <p:cNvPr id="8" name="Picture 7" descr="Icon&#10;&#10;Description automatically generated">
            <a:extLst>
              <a:ext uri="{FF2B5EF4-FFF2-40B4-BE49-F238E27FC236}">
                <a16:creationId xmlns:a16="http://schemas.microsoft.com/office/drawing/2014/main" id="{9156B8D7-62F1-48F9-B7F0-2026ED6328C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5340" y="5972432"/>
            <a:ext cx="698174" cy="790333"/>
          </a:xfrm>
          <a:prstGeom prst="rect">
            <a:avLst/>
          </a:prstGeom>
        </p:spPr>
      </p:pic>
      <p:pic>
        <p:nvPicPr>
          <p:cNvPr id="10" name="Picture 9">
            <a:extLst>
              <a:ext uri="{FF2B5EF4-FFF2-40B4-BE49-F238E27FC236}">
                <a16:creationId xmlns:a16="http://schemas.microsoft.com/office/drawing/2014/main" id="{119C0ED6-F0E9-40A3-81CF-4EC3597E04C1}"/>
              </a:ext>
            </a:extLst>
          </p:cNvPr>
          <p:cNvPicPr>
            <a:picLocks noChangeAspect="1"/>
          </p:cNvPicPr>
          <p:nvPr userDrawn="1"/>
        </p:nvPicPr>
        <p:blipFill>
          <a:blip r:embed="rId3"/>
          <a:stretch>
            <a:fillRect/>
          </a:stretch>
        </p:blipFill>
        <p:spPr>
          <a:xfrm>
            <a:off x="11353370" y="6550970"/>
            <a:ext cx="683290" cy="198497"/>
          </a:xfrm>
          <a:prstGeom prst="rect">
            <a:avLst/>
          </a:prstGeom>
        </p:spPr>
      </p:pic>
      <p:pic>
        <p:nvPicPr>
          <p:cNvPr id="7" name="Picture 6" descr="Shape&#10;&#10;Description automatically generated">
            <a:extLst>
              <a:ext uri="{FF2B5EF4-FFF2-40B4-BE49-F238E27FC236}">
                <a16:creationId xmlns:a16="http://schemas.microsoft.com/office/drawing/2014/main" id="{35A5FCAD-A317-4BF6-A264-EFEC767BDE4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353800" y="5860939"/>
            <a:ext cx="685024" cy="677973"/>
          </a:xfrm>
          <a:prstGeom prst="rect">
            <a:avLst/>
          </a:prstGeom>
        </p:spPr>
      </p:pic>
    </p:spTree>
    <p:extLst>
      <p:ext uri="{BB962C8B-B14F-4D97-AF65-F5344CB8AC3E}">
        <p14:creationId xmlns:p14="http://schemas.microsoft.com/office/powerpoint/2010/main" val="23424320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B2C530F-823D-4219-91DB-B1666D4C23FD}"/>
              </a:ext>
            </a:extLst>
          </p:cNvPr>
          <p:cNvSpPr/>
          <p:nvPr userDrawn="1"/>
        </p:nvSpPr>
        <p:spPr>
          <a:xfrm>
            <a:off x="0" y="1698173"/>
            <a:ext cx="12192000" cy="51598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aphicFrame>
        <p:nvGraphicFramePr>
          <p:cNvPr id="9" name="Object 8" hidden="1">
            <a:extLst>
              <a:ext uri="{FF2B5EF4-FFF2-40B4-BE49-F238E27FC236}">
                <a16:creationId xmlns:a16="http://schemas.microsoft.com/office/drawing/2014/main" id="{63D393D4-C318-4427-A4B5-374FFACDDEBF}"/>
              </a:ext>
            </a:extLst>
          </p:cNvPr>
          <p:cNvGraphicFramePr>
            <a:graphicFrameLocks noChangeAspect="1"/>
          </p:cNvGraphicFramePr>
          <p:nvPr userDrawn="1">
            <p:custDataLst>
              <p:tags r:id="rId1"/>
            </p:custDataLst>
            <p:extLst>
              <p:ext uri="{D42A27DB-BD31-4B8C-83A1-F6EECF244321}">
                <p14:modId xmlns:p14="http://schemas.microsoft.com/office/powerpoint/2010/main" val="248428256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9" name="Object 8" hidden="1">
                        <a:extLst>
                          <a:ext uri="{FF2B5EF4-FFF2-40B4-BE49-F238E27FC236}">
                            <a16:creationId xmlns:a16="http://schemas.microsoft.com/office/drawing/2014/main" id="{63D393D4-C318-4427-A4B5-374FFACDDEBF}"/>
                          </a:ext>
                        </a:extLst>
                      </p:cNvPr>
                      <p:cNvPicPr/>
                      <p:nvPr/>
                    </p:nvPicPr>
                    <p:blipFill>
                      <a:blip r:embed="rId5"/>
                      <a:stretch>
                        <a:fillRect/>
                      </a:stretch>
                    </p:blipFill>
                    <p:spPr>
                      <a:xfrm>
                        <a:off x="794" y="794"/>
                        <a:ext cx="794" cy="794"/>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A80F14C-6F0F-4929-8EDE-D99433242C12}"/>
              </a:ext>
            </a:extLst>
          </p:cNvPr>
          <p:cNvSpPr/>
          <p:nvPr userDrawn="1">
            <p:custDataLst>
              <p:tags r:id="rId2"/>
            </p:custDataLst>
          </p:nvPr>
        </p:nvSpPr>
        <p:spPr>
          <a:xfrm>
            <a:off x="0" y="0"/>
            <a:ext cx="79365" cy="793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838200" y="365126"/>
            <a:ext cx="10515600" cy="614589"/>
          </a:xfrm>
        </p:spPr>
        <p:txBody>
          <a:bodyPr>
            <a:noAutofit/>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0AF9D7A-5BEE-9245-944A-197F51D542D9}" type="slidenum">
              <a:rPr lang="en-US" smtClean="0"/>
              <a:t>‹#›</a:t>
            </a:fld>
            <a:endParaRPr lang="en-US"/>
          </a:p>
        </p:txBody>
      </p:sp>
      <p:sp>
        <p:nvSpPr>
          <p:cNvPr id="10" name="Text Placeholder 2">
            <a:extLst>
              <a:ext uri="{FF2B5EF4-FFF2-40B4-BE49-F238E27FC236}">
                <a16:creationId xmlns:a16="http://schemas.microsoft.com/office/drawing/2014/main" id="{0088860D-A9AE-4840-83E4-A4D871C1FF62}"/>
              </a:ext>
            </a:extLst>
          </p:cNvPr>
          <p:cNvSpPr>
            <a:spLocks noGrp="1"/>
          </p:cNvSpPr>
          <p:nvPr>
            <p:ph type="body" idx="13"/>
          </p:nvPr>
        </p:nvSpPr>
        <p:spPr>
          <a:xfrm>
            <a:off x="838200" y="1031649"/>
            <a:ext cx="10515600" cy="614589"/>
          </a:xfrm>
        </p:spPr>
        <p:txBody>
          <a:bodyPr anchor="ctr" anchorCtr="0">
            <a:noAutofit/>
          </a:bodyPr>
          <a:lstStyle>
            <a:lvl1pPr marL="0" indent="0">
              <a:buNone/>
              <a:defRPr sz="2400" b="1"/>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pic>
        <p:nvPicPr>
          <p:cNvPr id="14" name="Picture 13">
            <a:extLst>
              <a:ext uri="{FF2B5EF4-FFF2-40B4-BE49-F238E27FC236}">
                <a16:creationId xmlns:a16="http://schemas.microsoft.com/office/drawing/2014/main" id="{B8727FAE-2E3C-40B7-8E3B-29BAF4D4300F}"/>
              </a:ext>
            </a:extLst>
          </p:cNvPr>
          <p:cNvPicPr>
            <a:picLocks noChangeAspect="1"/>
          </p:cNvPicPr>
          <p:nvPr userDrawn="1"/>
        </p:nvPicPr>
        <p:blipFill>
          <a:blip r:embed="rId6"/>
          <a:stretch>
            <a:fillRect/>
          </a:stretch>
        </p:blipFill>
        <p:spPr>
          <a:xfrm>
            <a:off x="11353370" y="6550970"/>
            <a:ext cx="683290" cy="198497"/>
          </a:xfrm>
          <a:prstGeom prst="rect">
            <a:avLst/>
          </a:prstGeom>
        </p:spPr>
      </p:pic>
      <p:pic>
        <p:nvPicPr>
          <p:cNvPr id="15" name="Picture 14" descr="Shape&#10;&#10;Description automatically generated">
            <a:extLst>
              <a:ext uri="{FF2B5EF4-FFF2-40B4-BE49-F238E27FC236}">
                <a16:creationId xmlns:a16="http://schemas.microsoft.com/office/drawing/2014/main" id="{EADBA6D8-A21D-4527-B3DF-FECDFA2AEF1F}"/>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353800" y="5860939"/>
            <a:ext cx="685024" cy="677973"/>
          </a:xfrm>
          <a:prstGeom prst="rect">
            <a:avLst/>
          </a:prstGeom>
        </p:spPr>
      </p:pic>
      <p:pic>
        <p:nvPicPr>
          <p:cNvPr id="16" name="Picture 15" descr="Icon&#10;&#10;Description automatically generated">
            <a:extLst>
              <a:ext uri="{FF2B5EF4-FFF2-40B4-BE49-F238E27FC236}">
                <a16:creationId xmlns:a16="http://schemas.microsoft.com/office/drawing/2014/main" id="{03CE4C37-8E77-487D-BD9C-675456A6C4D4}"/>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55340" y="5972432"/>
            <a:ext cx="698174" cy="790333"/>
          </a:xfrm>
          <a:prstGeom prst="rect">
            <a:avLst/>
          </a:prstGeom>
        </p:spPr>
      </p:pic>
    </p:spTree>
    <p:extLst>
      <p:ext uri="{BB962C8B-B14F-4D97-AF65-F5344CB8AC3E}">
        <p14:creationId xmlns:p14="http://schemas.microsoft.com/office/powerpoint/2010/main" val="437230922"/>
      </p:ext>
    </p:extLst>
  </p:cSld>
  <p:clrMapOvr>
    <a:masterClrMapping/>
  </p:clrMapOvr>
  <p:transition>
    <p:fade/>
  </p:transition>
  <p:extLst>
    <p:ext uri="{DCECCB84-F9BA-43D5-87BE-67443E8EF086}">
      <p15:sldGuideLst xmlns:p15="http://schemas.microsoft.com/office/powerpoint/2012/main">
        <p15:guide id="1" pos="529">
          <p15:clr>
            <a:srgbClr val="FBAE40"/>
          </p15:clr>
        </p15:guide>
        <p15:guide id="2" pos="7151">
          <p15:clr>
            <a:srgbClr val="FBAE40"/>
          </p15:clr>
        </p15:guide>
        <p15:guide id="3" orient="horz" pos="3906">
          <p15:clr>
            <a:srgbClr val="FBAE40"/>
          </p15:clr>
        </p15:guide>
        <p15:guide id="4" orient="horz" pos="113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1182C-165E-4200-BEFA-4037E4E8208A}"/>
              </a:ext>
            </a:extLst>
          </p:cNvPr>
          <p:cNvSpPr>
            <a:spLocks noGrp="1"/>
          </p:cNvSpPr>
          <p:nvPr>
            <p:ph type="title"/>
          </p:nvPr>
        </p:nvSpPr>
        <p:spPr>
          <a:xfrm>
            <a:off x="838200" y="136525"/>
            <a:ext cx="10515600" cy="1008000"/>
          </a:xfrm>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8987010F-E7F0-4BD8-800C-C685C372AD5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458490EC-8380-4B26-B419-65740999FC49}"/>
              </a:ext>
            </a:extLst>
          </p:cNvPr>
          <p:cNvSpPr>
            <a:spLocks noGrp="1"/>
          </p:cNvSpPr>
          <p:nvPr>
            <p:ph type="dt" sz="half" idx="10"/>
          </p:nvPr>
        </p:nvSpPr>
        <p:spPr/>
        <p:txBody>
          <a:bodyPr/>
          <a:lstStyle/>
          <a:p>
            <a:fld id="{4DE93D9E-E077-4E39-8C2F-FAD529FFDD7F}" type="datetimeFigureOut">
              <a:rPr lang="en-ZA" smtClean="0"/>
              <a:t>2022/04/26</a:t>
            </a:fld>
            <a:endParaRPr lang="en-ZA"/>
          </a:p>
        </p:txBody>
      </p:sp>
      <p:sp>
        <p:nvSpPr>
          <p:cNvPr id="5" name="Footer Placeholder 4">
            <a:extLst>
              <a:ext uri="{FF2B5EF4-FFF2-40B4-BE49-F238E27FC236}">
                <a16:creationId xmlns:a16="http://schemas.microsoft.com/office/drawing/2014/main" id="{C34C00AE-B3DB-4732-8D80-B5882B69881C}"/>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F3AFD916-8121-4C10-8EC1-0F008ACF662C}"/>
              </a:ext>
            </a:extLst>
          </p:cNvPr>
          <p:cNvSpPr>
            <a:spLocks noGrp="1"/>
          </p:cNvSpPr>
          <p:nvPr>
            <p:ph type="sldNum" sz="quarter" idx="12"/>
          </p:nvPr>
        </p:nvSpPr>
        <p:spPr/>
        <p:txBody>
          <a:bodyPr/>
          <a:lstStyle/>
          <a:p>
            <a:fld id="{FC3FF7A7-BFAF-4B0F-90CB-8094933CE192}" type="slidenum">
              <a:rPr lang="en-ZA" smtClean="0"/>
              <a:t>‹#›</a:t>
            </a:fld>
            <a:endParaRPr lang="en-ZA"/>
          </a:p>
        </p:txBody>
      </p:sp>
      <p:pic>
        <p:nvPicPr>
          <p:cNvPr id="9" name="Picture 8">
            <a:extLst>
              <a:ext uri="{FF2B5EF4-FFF2-40B4-BE49-F238E27FC236}">
                <a16:creationId xmlns:a16="http://schemas.microsoft.com/office/drawing/2014/main" id="{52812A66-0403-4A98-8A93-BD4CE876CECD}"/>
              </a:ext>
            </a:extLst>
          </p:cNvPr>
          <p:cNvPicPr>
            <a:picLocks noChangeAspect="1"/>
          </p:cNvPicPr>
          <p:nvPr userDrawn="1"/>
        </p:nvPicPr>
        <p:blipFill>
          <a:blip r:embed="rId2"/>
          <a:stretch>
            <a:fillRect/>
          </a:stretch>
        </p:blipFill>
        <p:spPr>
          <a:xfrm>
            <a:off x="11353370" y="6550970"/>
            <a:ext cx="683290" cy="198497"/>
          </a:xfrm>
          <a:prstGeom prst="rect">
            <a:avLst/>
          </a:prstGeom>
        </p:spPr>
      </p:pic>
      <p:pic>
        <p:nvPicPr>
          <p:cNvPr id="10" name="Picture 9" descr="Shape&#10;&#10;Description automatically generated">
            <a:extLst>
              <a:ext uri="{FF2B5EF4-FFF2-40B4-BE49-F238E27FC236}">
                <a16:creationId xmlns:a16="http://schemas.microsoft.com/office/drawing/2014/main" id="{8C62AB92-717F-4EA2-B7AB-581DEDF7DD4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53800" y="5860939"/>
            <a:ext cx="685024" cy="677973"/>
          </a:xfrm>
          <a:prstGeom prst="rect">
            <a:avLst/>
          </a:prstGeom>
        </p:spPr>
      </p:pic>
      <p:pic>
        <p:nvPicPr>
          <p:cNvPr id="11" name="Picture 10" descr="Icon&#10;&#10;Description automatically generated">
            <a:extLst>
              <a:ext uri="{FF2B5EF4-FFF2-40B4-BE49-F238E27FC236}">
                <a16:creationId xmlns:a16="http://schemas.microsoft.com/office/drawing/2014/main" id="{62D3CE39-5CC2-49A3-89F4-787146F5F2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55340" y="5972432"/>
            <a:ext cx="698174" cy="790333"/>
          </a:xfrm>
          <a:prstGeom prst="rect">
            <a:avLst/>
          </a:prstGeom>
        </p:spPr>
      </p:pic>
    </p:spTree>
    <p:extLst>
      <p:ext uri="{BB962C8B-B14F-4D97-AF65-F5344CB8AC3E}">
        <p14:creationId xmlns:p14="http://schemas.microsoft.com/office/powerpoint/2010/main" val="36132884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27C8B-0E2E-49D3-A67F-1636E929A03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ZA"/>
          </a:p>
        </p:txBody>
      </p:sp>
      <p:sp>
        <p:nvSpPr>
          <p:cNvPr id="3" name="Text Placeholder 2">
            <a:extLst>
              <a:ext uri="{FF2B5EF4-FFF2-40B4-BE49-F238E27FC236}">
                <a16:creationId xmlns:a16="http://schemas.microsoft.com/office/drawing/2014/main" id="{6FCF4C74-4254-4B36-8F52-82344BA43C4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8A56683-ECCF-4DD0-B695-755D8908F2FD}"/>
              </a:ext>
            </a:extLst>
          </p:cNvPr>
          <p:cNvSpPr>
            <a:spLocks noGrp="1"/>
          </p:cNvSpPr>
          <p:nvPr>
            <p:ph type="dt" sz="half" idx="10"/>
          </p:nvPr>
        </p:nvSpPr>
        <p:spPr/>
        <p:txBody>
          <a:bodyPr/>
          <a:lstStyle/>
          <a:p>
            <a:fld id="{4DE93D9E-E077-4E39-8C2F-FAD529FFDD7F}" type="datetimeFigureOut">
              <a:rPr lang="en-ZA" smtClean="0"/>
              <a:t>2022/04/26</a:t>
            </a:fld>
            <a:endParaRPr lang="en-ZA"/>
          </a:p>
        </p:txBody>
      </p:sp>
      <p:sp>
        <p:nvSpPr>
          <p:cNvPr id="5" name="Footer Placeholder 4">
            <a:extLst>
              <a:ext uri="{FF2B5EF4-FFF2-40B4-BE49-F238E27FC236}">
                <a16:creationId xmlns:a16="http://schemas.microsoft.com/office/drawing/2014/main" id="{6F311526-9C32-4EEB-B5D6-60D8AED8118B}"/>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D97C1455-FD80-44A6-BEB0-70FAFBC5A6FB}"/>
              </a:ext>
            </a:extLst>
          </p:cNvPr>
          <p:cNvSpPr>
            <a:spLocks noGrp="1"/>
          </p:cNvSpPr>
          <p:nvPr>
            <p:ph type="sldNum" sz="quarter" idx="12"/>
          </p:nvPr>
        </p:nvSpPr>
        <p:spPr/>
        <p:txBody>
          <a:bodyPr/>
          <a:lstStyle/>
          <a:p>
            <a:fld id="{FC3FF7A7-BFAF-4B0F-90CB-8094933CE192}" type="slidenum">
              <a:rPr lang="en-ZA" smtClean="0"/>
              <a:t>‹#›</a:t>
            </a:fld>
            <a:endParaRPr lang="en-ZA"/>
          </a:p>
        </p:txBody>
      </p:sp>
      <p:pic>
        <p:nvPicPr>
          <p:cNvPr id="9" name="Picture 8">
            <a:extLst>
              <a:ext uri="{FF2B5EF4-FFF2-40B4-BE49-F238E27FC236}">
                <a16:creationId xmlns:a16="http://schemas.microsoft.com/office/drawing/2014/main" id="{C1292FB4-7246-444B-A4AD-2168B9E54514}"/>
              </a:ext>
            </a:extLst>
          </p:cNvPr>
          <p:cNvPicPr>
            <a:picLocks noChangeAspect="1"/>
          </p:cNvPicPr>
          <p:nvPr userDrawn="1"/>
        </p:nvPicPr>
        <p:blipFill>
          <a:blip r:embed="rId2"/>
          <a:stretch>
            <a:fillRect/>
          </a:stretch>
        </p:blipFill>
        <p:spPr>
          <a:xfrm>
            <a:off x="11353370" y="6550970"/>
            <a:ext cx="683290" cy="198497"/>
          </a:xfrm>
          <a:prstGeom prst="rect">
            <a:avLst/>
          </a:prstGeom>
        </p:spPr>
      </p:pic>
      <p:pic>
        <p:nvPicPr>
          <p:cNvPr id="10" name="Picture 9" descr="Shape&#10;&#10;Description automatically generated">
            <a:extLst>
              <a:ext uri="{FF2B5EF4-FFF2-40B4-BE49-F238E27FC236}">
                <a16:creationId xmlns:a16="http://schemas.microsoft.com/office/drawing/2014/main" id="{63DD6039-238D-4E79-B1BA-E5D23EA4022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53800" y="5860939"/>
            <a:ext cx="685024" cy="677973"/>
          </a:xfrm>
          <a:prstGeom prst="rect">
            <a:avLst/>
          </a:prstGeom>
        </p:spPr>
      </p:pic>
      <p:pic>
        <p:nvPicPr>
          <p:cNvPr id="11" name="Picture 10" descr="Icon&#10;&#10;Description automatically generated">
            <a:extLst>
              <a:ext uri="{FF2B5EF4-FFF2-40B4-BE49-F238E27FC236}">
                <a16:creationId xmlns:a16="http://schemas.microsoft.com/office/drawing/2014/main" id="{D5055749-E42E-4509-9908-66472FED6EB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55340" y="5972432"/>
            <a:ext cx="698174" cy="790333"/>
          </a:xfrm>
          <a:prstGeom prst="rect">
            <a:avLst/>
          </a:prstGeom>
        </p:spPr>
      </p:pic>
    </p:spTree>
    <p:extLst>
      <p:ext uri="{BB962C8B-B14F-4D97-AF65-F5344CB8AC3E}">
        <p14:creationId xmlns:p14="http://schemas.microsoft.com/office/powerpoint/2010/main" val="2569479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71219C-772E-4A70-AAB6-94A086D5BE50}"/>
              </a:ext>
            </a:extLst>
          </p:cNvPr>
          <p:cNvSpPr>
            <a:spLocks noGrp="1"/>
          </p:cNvSpPr>
          <p:nvPr>
            <p:ph type="title"/>
          </p:nvPr>
        </p:nvSpPr>
        <p:spPr>
          <a:xfrm>
            <a:off x="838200" y="136525"/>
            <a:ext cx="10515600" cy="1008000"/>
          </a:xfrm>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EDD1EF08-BE70-48B9-9D72-F4B4CB7423B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a:extLst>
              <a:ext uri="{FF2B5EF4-FFF2-40B4-BE49-F238E27FC236}">
                <a16:creationId xmlns:a16="http://schemas.microsoft.com/office/drawing/2014/main" id="{DC8DD3F9-C088-4995-A27E-0B4FFFEF268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a:extLst>
              <a:ext uri="{FF2B5EF4-FFF2-40B4-BE49-F238E27FC236}">
                <a16:creationId xmlns:a16="http://schemas.microsoft.com/office/drawing/2014/main" id="{8C7307B4-03AC-4DCB-843C-D68E8FBA06CF}"/>
              </a:ext>
            </a:extLst>
          </p:cNvPr>
          <p:cNvSpPr>
            <a:spLocks noGrp="1"/>
          </p:cNvSpPr>
          <p:nvPr>
            <p:ph type="dt" sz="half" idx="10"/>
          </p:nvPr>
        </p:nvSpPr>
        <p:spPr/>
        <p:txBody>
          <a:bodyPr/>
          <a:lstStyle/>
          <a:p>
            <a:fld id="{4DE93D9E-E077-4E39-8C2F-FAD529FFDD7F}" type="datetimeFigureOut">
              <a:rPr lang="en-ZA" smtClean="0"/>
              <a:t>2022/04/26</a:t>
            </a:fld>
            <a:endParaRPr lang="en-ZA"/>
          </a:p>
        </p:txBody>
      </p:sp>
      <p:sp>
        <p:nvSpPr>
          <p:cNvPr id="6" name="Footer Placeholder 5">
            <a:extLst>
              <a:ext uri="{FF2B5EF4-FFF2-40B4-BE49-F238E27FC236}">
                <a16:creationId xmlns:a16="http://schemas.microsoft.com/office/drawing/2014/main" id="{CEDEDB03-29EA-469C-8326-9FA7C85350B8}"/>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DAF62C7F-4DE8-4D91-9480-0C199395CCB7}"/>
              </a:ext>
            </a:extLst>
          </p:cNvPr>
          <p:cNvSpPr>
            <a:spLocks noGrp="1"/>
          </p:cNvSpPr>
          <p:nvPr>
            <p:ph type="sldNum" sz="quarter" idx="12"/>
          </p:nvPr>
        </p:nvSpPr>
        <p:spPr/>
        <p:txBody>
          <a:bodyPr/>
          <a:lstStyle/>
          <a:p>
            <a:fld id="{FC3FF7A7-BFAF-4B0F-90CB-8094933CE192}" type="slidenum">
              <a:rPr lang="en-ZA" smtClean="0"/>
              <a:t>‹#›</a:t>
            </a:fld>
            <a:endParaRPr lang="en-ZA"/>
          </a:p>
        </p:txBody>
      </p:sp>
      <p:pic>
        <p:nvPicPr>
          <p:cNvPr id="10" name="Picture 9">
            <a:extLst>
              <a:ext uri="{FF2B5EF4-FFF2-40B4-BE49-F238E27FC236}">
                <a16:creationId xmlns:a16="http://schemas.microsoft.com/office/drawing/2014/main" id="{F443544E-FD49-4090-8437-366EF0B7AE33}"/>
              </a:ext>
            </a:extLst>
          </p:cNvPr>
          <p:cNvPicPr>
            <a:picLocks noChangeAspect="1"/>
          </p:cNvPicPr>
          <p:nvPr userDrawn="1"/>
        </p:nvPicPr>
        <p:blipFill>
          <a:blip r:embed="rId2"/>
          <a:stretch>
            <a:fillRect/>
          </a:stretch>
        </p:blipFill>
        <p:spPr>
          <a:xfrm>
            <a:off x="11353370" y="6550970"/>
            <a:ext cx="683290" cy="198497"/>
          </a:xfrm>
          <a:prstGeom prst="rect">
            <a:avLst/>
          </a:prstGeom>
        </p:spPr>
      </p:pic>
      <p:pic>
        <p:nvPicPr>
          <p:cNvPr id="11" name="Picture 10" descr="Shape&#10;&#10;Description automatically generated">
            <a:extLst>
              <a:ext uri="{FF2B5EF4-FFF2-40B4-BE49-F238E27FC236}">
                <a16:creationId xmlns:a16="http://schemas.microsoft.com/office/drawing/2014/main" id="{A35901FF-CF8B-4792-90CD-87BDF63E0FA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53800" y="5860939"/>
            <a:ext cx="685024" cy="677973"/>
          </a:xfrm>
          <a:prstGeom prst="rect">
            <a:avLst/>
          </a:prstGeom>
        </p:spPr>
      </p:pic>
      <p:pic>
        <p:nvPicPr>
          <p:cNvPr id="12" name="Picture 11" descr="Icon&#10;&#10;Description automatically generated">
            <a:extLst>
              <a:ext uri="{FF2B5EF4-FFF2-40B4-BE49-F238E27FC236}">
                <a16:creationId xmlns:a16="http://schemas.microsoft.com/office/drawing/2014/main" id="{0D891B82-A8D9-49C0-8CE3-9947B411CAC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55340" y="5972432"/>
            <a:ext cx="698174" cy="790333"/>
          </a:xfrm>
          <a:prstGeom prst="rect">
            <a:avLst/>
          </a:prstGeom>
        </p:spPr>
      </p:pic>
    </p:spTree>
    <p:extLst>
      <p:ext uri="{BB962C8B-B14F-4D97-AF65-F5344CB8AC3E}">
        <p14:creationId xmlns:p14="http://schemas.microsoft.com/office/powerpoint/2010/main" val="3621593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7F1BEE-1EC5-4DF8-8798-9CC91377BA4F}"/>
              </a:ext>
            </a:extLst>
          </p:cNvPr>
          <p:cNvSpPr>
            <a:spLocks noGrp="1"/>
          </p:cNvSpPr>
          <p:nvPr>
            <p:ph type="title"/>
          </p:nvPr>
        </p:nvSpPr>
        <p:spPr>
          <a:xfrm>
            <a:off x="839788" y="179999"/>
            <a:ext cx="10515600" cy="1008000"/>
          </a:xfrm>
        </p:spPr>
        <p:txBody>
          <a:bodyPr/>
          <a:lstStyle/>
          <a:p>
            <a:r>
              <a:rPr lang="en-US"/>
              <a:t>Click to edit Master title style</a:t>
            </a:r>
            <a:endParaRPr lang="en-ZA"/>
          </a:p>
        </p:txBody>
      </p:sp>
      <p:sp>
        <p:nvSpPr>
          <p:cNvPr id="3" name="Text Placeholder 2">
            <a:extLst>
              <a:ext uri="{FF2B5EF4-FFF2-40B4-BE49-F238E27FC236}">
                <a16:creationId xmlns:a16="http://schemas.microsoft.com/office/drawing/2014/main" id="{00FE5509-DCA1-4B55-A758-1D150E6301D6}"/>
              </a:ext>
            </a:extLst>
          </p:cNvPr>
          <p:cNvSpPr>
            <a:spLocks noGrp="1"/>
          </p:cNvSpPr>
          <p:nvPr>
            <p:ph type="body" idx="1"/>
          </p:nvPr>
        </p:nvSpPr>
        <p:spPr>
          <a:xfrm>
            <a:off x="839788" y="1691999"/>
            <a:ext cx="5157787" cy="813076"/>
          </a:xfrm>
        </p:spPr>
        <p:txBody>
          <a:bodyPr anchor="b">
            <a:no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8356F4A-EB10-455E-809F-C350E2CD152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a:extLst>
              <a:ext uri="{FF2B5EF4-FFF2-40B4-BE49-F238E27FC236}">
                <a16:creationId xmlns:a16="http://schemas.microsoft.com/office/drawing/2014/main" id="{96956CB6-6F64-47EF-9969-A705DED548D2}"/>
              </a:ext>
            </a:extLst>
          </p:cNvPr>
          <p:cNvSpPr>
            <a:spLocks noGrp="1"/>
          </p:cNvSpPr>
          <p:nvPr>
            <p:ph type="body" sz="quarter" idx="3"/>
          </p:nvPr>
        </p:nvSpPr>
        <p:spPr>
          <a:xfrm>
            <a:off x="6172200" y="1691999"/>
            <a:ext cx="5183188" cy="813075"/>
          </a:xfrm>
        </p:spPr>
        <p:txBody>
          <a:bodyPr anchor="b">
            <a:no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31CE7B6-E9F5-4DEF-93A3-615F52D73D7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a16="http://schemas.microsoft.com/office/drawing/2014/main" id="{487C85CA-AFB8-4F06-8E36-9B8965103417}"/>
              </a:ext>
            </a:extLst>
          </p:cNvPr>
          <p:cNvSpPr>
            <a:spLocks noGrp="1"/>
          </p:cNvSpPr>
          <p:nvPr>
            <p:ph type="dt" sz="half" idx="10"/>
          </p:nvPr>
        </p:nvSpPr>
        <p:spPr/>
        <p:txBody>
          <a:bodyPr/>
          <a:lstStyle/>
          <a:p>
            <a:fld id="{4DE93D9E-E077-4E39-8C2F-FAD529FFDD7F}" type="datetimeFigureOut">
              <a:rPr lang="en-ZA" smtClean="0"/>
              <a:t>2022/04/26</a:t>
            </a:fld>
            <a:endParaRPr lang="en-ZA"/>
          </a:p>
        </p:txBody>
      </p:sp>
      <p:sp>
        <p:nvSpPr>
          <p:cNvPr id="8" name="Footer Placeholder 7">
            <a:extLst>
              <a:ext uri="{FF2B5EF4-FFF2-40B4-BE49-F238E27FC236}">
                <a16:creationId xmlns:a16="http://schemas.microsoft.com/office/drawing/2014/main" id="{46D12FF8-5818-4457-ACF5-65E4F9CE1747}"/>
              </a:ext>
            </a:extLst>
          </p:cNvPr>
          <p:cNvSpPr>
            <a:spLocks noGrp="1"/>
          </p:cNvSpPr>
          <p:nvPr>
            <p:ph type="ftr" sz="quarter" idx="11"/>
          </p:nvPr>
        </p:nvSpPr>
        <p:spPr/>
        <p:txBody>
          <a:bodyPr/>
          <a:lstStyle/>
          <a:p>
            <a:endParaRPr lang="en-ZA"/>
          </a:p>
        </p:txBody>
      </p:sp>
      <p:sp>
        <p:nvSpPr>
          <p:cNvPr id="9" name="Slide Number Placeholder 8">
            <a:extLst>
              <a:ext uri="{FF2B5EF4-FFF2-40B4-BE49-F238E27FC236}">
                <a16:creationId xmlns:a16="http://schemas.microsoft.com/office/drawing/2014/main" id="{3D8636BA-F920-4DDE-AE75-0E26B0A18DEC}"/>
              </a:ext>
            </a:extLst>
          </p:cNvPr>
          <p:cNvSpPr>
            <a:spLocks noGrp="1"/>
          </p:cNvSpPr>
          <p:nvPr>
            <p:ph type="sldNum" sz="quarter" idx="12"/>
          </p:nvPr>
        </p:nvSpPr>
        <p:spPr/>
        <p:txBody>
          <a:bodyPr/>
          <a:lstStyle/>
          <a:p>
            <a:fld id="{FC3FF7A7-BFAF-4B0F-90CB-8094933CE192}" type="slidenum">
              <a:rPr lang="en-ZA" smtClean="0"/>
              <a:t>‹#›</a:t>
            </a:fld>
            <a:endParaRPr lang="en-ZA"/>
          </a:p>
        </p:txBody>
      </p:sp>
      <p:pic>
        <p:nvPicPr>
          <p:cNvPr id="12" name="Picture 11">
            <a:extLst>
              <a:ext uri="{FF2B5EF4-FFF2-40B4-BE49-F238E27FC236}">
                <a16:creationId xmlns:a16="http://schemas.microsoft.com/office/drawing/2014/main" id="{FCC240C0-B266-4476-85F0-799C5AA2CF53}"/>
              </a:ext>
            </a:extLst>
          </p:cNvPr>
          <p:cNvPicPr>
            <a:picLocks noChangeAspect="1"/>
          </p:cNvPicPr>
          <p:nvPr userDrawn="1"/>
        </p:nvPicPr>
        <p:blipFill>
          <a:blip r:embed="rId2"/>
          <a:stretch>
            <a:fillRect/>
          </a:stretch>
        </p:blipFill>
        <p:spPr>
          <a:xfrm>
            <a:off x="11353370" y="6550970"/>
            <a:ext cx="683290" cy="198497"/>
          </a:xfrm>
          <a:prstGeom prst="rect">
            <a:avLst/>
          </a:prstGeom>
        </p:spPr>
      </p:pic>
      <p:pic>
        <p:nvPicPr>
          <p:cNvPr id="13" name="Picture 12" descr="Shape&#10;&#10;Description automatically generated">
            <a:extLst>
              <a:ext uri="{FF2B5EF4-FFF2-40B4-BE49-F238E27FC236}">
                <a16:creationId xmlns:a16="http://schemas.microsoft.com/office/drawing/2014/main" id="{A41B170F-70A8-4AB2-A097-043114D79EF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53800" y="5860939"/>
            <a:ext cx="685024" cy="677973"/>
          </a:xfrm>
          <a:prstGeom prst="rect">
            <a:avLst/>
          </a:prstGeom>
        </p:spPr>
      </p:pic>
      <p:pic>
        <p:nvPicPr>
          <p:cNvPr id="14" name="Picture 13" descr="Icon&#10;&#10;Description automatically generated">
            <a:extLst>
              <a:ext uri="{FF2B5EF4-FFF2-40B4-BE49-F238E27FC236}">
                <a16:creationId xmlns:a16="http://schemas.microsoft.com/office/drawing/2014/main" id="{88B2D9C1-B45E-4C71-97FF-C6B10A78AFB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55340" y="5972432"/>
            <a:ext cx="698174" cy="790333"/>
          </a:xfrm>
          <a:prstGeom prst="rect">
            <a:avLst/>
          </a:prstGeom>
        </p:spPr>
      </p:pic>
    </p:spTree>
    <p:extLst>
      <p:ext uri="{BB962C8B-B14F-4D97-AF65-F5344CB8AC3E}">
        <p14:creationId xmlns:p14="http://schemas.microsoft.com/office/powerpoint/2010/main" val="6388883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1DE72-035F-4740-B24D-C04DB8E9D88B}"/>
              </a:ext>
            </a:extLst>
          </p:cNvPr>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id="{65048126-D8B4-4F08-9E09-E2136A803379}"/>
              </a:ext>
            </a:extLst>
          </p:cNvPr>
          <p:cNvSpPr>
            <a:spLocks noGrp="1"/>
          </p:cNvSpPr>
          <p:nvPr>
            <p:ph type="dt" sz="half" idx="10"/>
          </p:nvPr>
        </p:nvSpPr>
        <p:spPr/>
        <p:txBody>
          <a:bodyPr/>
          <a:lstStyle/>
          <a:p>
            <a:fld id="{4DE93D9E-E077-4E39-8C2F-FAD529FFDD7F}" type="datetimeFigureOut">
              <a:rPr lang="en-ZA" smtClean="0"/>
              <a:t>2022/04/26</a:t>
            </a:fld>
            <a:endParaRPr lang="en-ZA"/>
          </a:p>
        </p:txBody>
      </p:sp>
      <p:sp>
        <p:nvSpPr>
          <p:cNvPr id="4" name="Footer Placeholder 3">
            <a:extLst>
              <a:ext uri="{FF2B5EF4-FFF2-40B4-BE49-F238E27FC236}">
                <a16:creationId xmlns:a16="http://schemas.microsoft.com/office/drawing/2014/main" id="{3AD46EAF-0EF6-44BB-936C-406471D14023}"/>
              </a:ext>
            </a:extLst>
          </p:cNvPr>
          <p:cNvSpPr>
            <a:spLocks noGrp="1"/>
          </p:cNvSpPr>
          <p:nvPr>
            <p:ph type="ftr" sz="quarter" idx="11"/>
          </p:nvPr>
        </p:nvSpPr>
        <p:spPr/>
        <p:txBody>
          <a:bodyPr/>
          <a:lstStyle/>
          <a:p>
            <a:endParaRPr lang="en-ZA"/>
          </a:p>
        </p:txBody>
      </p:sp>
      <p:sp>
        <p:nvSpPr>
          <p:cNvPr id="5" name="Slide Number Placeholder 4">
            <a:extLst>
              <a:ext uri="{FF2B5EF4-FFF2-40B4-BE49-F238E27FC236}">
                <a16:creationId xmlns:a16="http://schemas.microsoft.com/office/drawing/2014/main" id="{1DF6AE09-9CDC-4F08-8944-BFB19C976260}"/>
              </a:ext>
            </a:extLst>
          </p:cNvPr>
          <p:cNvSpPr>
            <a:spLocks noGrp="1"/>
          </p:cNvSpPr>
          <p:nvPr>
            <p:ph type="sldNum" sz="quarter" idx="12"/>
          </p:nvPr>
        </p:nvSpPr>
        <p:spPr/>
        <p:txBody>
          <a:bodyPr/>
          <a:lstStyle/>
          <a:p>
            <a:fld id="{FC3FF7A7-BFAF-4B0F-90CB-8094933CE192}" type="slidenum">
              <a:rPr lang="en-ZA" smtClean="0"/>
              <a:t>‹#›</a:t>
            </a:fld>
            <a:endParaRPr lang="en-ZA"/>
          </a:p>
        </p:txBody>
      </p:sp>
      <p:pic>
        <p:nvPicPr>
          <p:cNvPr id="8" name="Picture 7">
            <a:extLst>
              <a:ext uri="{FF2B5EF4-FFF2-40B4-BE49-F238E27FC236}">
                <a16:creationId xmlns:a16="http://schemas.microsoft.com/office/drawing/2014/main" id="{6746901E-3456-415B-BF08-03D57DD2742A}"/>
              </a:ext>
            </a:extLst>
          </p:cNvPr>
          <p:cNvPicPr>
            <a:picLocks noChangeAspect="1"/>
          </p:cNvPicPr>
          <p:nvPr userDrawn="1"/>
        </p:nvPicPr>
        <p:blipFill>
          <a:blip r:embed="rId2"/>
          <a:stretch>
            <a:fillRect/>
          </a:stretch>
        </p:blipFill>
        <p:spPr>
          <a:xfrm>
            <a:off x="11353370" y="6550970"/>
            <a:ext cx="683290" cy="198497"/>
          </a:xfrm>
          <a:prstGeom prst="rect">
            <a:avLst/>
          </a:prstGeom>
        </p:spPr>
      </p:pic>
      <p:pic>
        <p:nvPicPr>
          <p:cNvPr id="9" name="Picture 8" descr="Shape&#10;&#10;Description automatically generated">
            <a:extLst>
              <a:ext uri="{FF2B5EF4-FFF2-40B4-BE49-F238E27FC236}">
                <a16:creationId xmlns:a16="http://schemas.microsoft.com/office/drawing/2014/main" id="{F96CC049-C753-42D1-9503-DA0274A9933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53800" y="5860939"/>
            <a:ext cx="685024" cy="677973"/>
          </a:xfrm>
          <a:prstGeom prst="rect">
            <a:avLst/>
          </a:prstGeom>
        </p:spPr>
      </p:pic>
      <p:pic>
        <p:nvPicPr>
          <p:cNvPr id="10" name="Picture 9" descr="Icon&#10;&#10;Description automatically generated">
            <a:extLst>
              <a:ext uri="{FF2B5EF4-FFF2-40B4-BE49-F238E27FC236}">
                <a16:creationId xmlns:a16="http://schemas.microsoft.com/office/drawing/2014/main" id="{AC9CBE14-C46E-45AA-BE33-AD3FC1E50C7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55340" y="5972432"/>
            <a:ext cx="698174" cy="790333"/>
          </a:xfrm>
          <a:prstGeom prst="rect">
            <a:avLst/>
          </a:prstGeom>
        </p:spPr>
      </p:pic>
    </p:spTree>
    <p:extLst>
      <p:ext uri="{BB962C8B-B14F-4D97-AF65-F5344CB8AC3E}">
        <p14:creationId xmlns:p14="http://schemas.microsoft.com/office/powerpoint/2010/main" val="38143266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423F0D6-6991-439E-A6C0-9250F260FD91}"/>
              </a:ext>
            </a:extLst>
          </p:cNvPr>
          <p:cNvSpPr>
            <a:spLocks noGrp="1"/>
          </p:cNvSpPr>
          <p:nvPr>
            <p:ph type="dt" sz="half" idx="10"/>
          </p:nvPr>
        </p:nvSpPr>
        <p:spPr/>
        <p:txBody>
          <a:bodyPr/>
          <a:lstStyle/>
          <a:p>
            <a:fld id="{4DE93D9E-E077-4E39-8C2F-FAD529FFDD7F}" type="datetimeFigureOut">
              <a:rPr lang="en-ZA" smtClean="0"/>
              <a:t>2022/04/26</a:t>
            </a:fld>
            <a:endParaRPr lang="en-ZA"/>
          </a:p>
        </p:txBody>
      </p:sp>
      <p:sp>
        <p:nvSpPr>
          <p:cNvPr id="3" name="Footer Placeholder 2">
            <a:extLst>
              <a:ext uri="{FF2B5EF4-FFF2-40B4-BE49-F238E27FC236}">
                <a16:creationId xmlns:a16="http://schemas.microsoft.com/office/drawing/2014/main" id="{A5C163DC-4D67-407A-8B5F-C5D3105169B6}"/>
              </a:ext>
            </a:extLst>
          </p:cNvPr>
          <p:cNvSpPr>
            <a:spLocks noGrp="1"/>
          </p:cNvSpPr>
          <p:nvPr>
            <p:ph type="ftr" sz="quarter" idx="11"/>
          </p:nvPr>
        </p:nvSpPr>
        <p:spPr/>
        <p:txBody>
          <a:bodyPr/>
          <a:lstStyle/>
          <a:p>
            <a:endParaRPr lang="en-ZA"/>
          </a:p>
        </p:txBody>
      </p:sp>
      <p:sp>
        <p:nvSpPr>
          <p:cNvPr id="4" name="Slide Number Placeholder 3">
            <a:extLst>
              <a:ext uri="{FF2B5EF4-FFF2-40B4-BE49-F238E27FC236}">
                <a16:creationId xmlns:a16="http://schemas.microsoft.com/office/drawing/2014/main" id="{FD31128E-AE1F-4C1B-A9D7-462C18C98F86}"/>
              </a:ext>
            </a:extLst>
          </p:cNvPr>
          <p:cNvSpPr>
            <a:spLocks noGrp="1"/>
          </p:cNvSpPr>
          <p:nvPr>
            <p:ph type="sldNum" sz="quarter" idx="12"/>
          </p:nvPr>
        </p:nvSpPr>
        <p:spPr/>
        <p:txBody>
          <a:bodyPr/>
          <a:lstStyle/>
          <a:p>
            <a:fld id="{FC3FF7A7-BFAF-4B0F-90CB-8094933CE192}" type="slidenum">
              <a:rPr lang="en-ZA" smtClean="0"/>
              <a:t>‹#›</a:t>
            </a:fld>
            <a:endParaRPr lang="en-ZA"/>
          </a:p>
        </p:txBody>
      </p:sp>
      <p:pic>
        <p:nvPicPr>
          <p:cNvPr id="7" name="Picture 6">
            <a:extLst>
              <a:ext uri="{FF2B5EF4-FFF2-40B4-BE49-F238E27FC236}">
                <a16:creationId xmlns:a16="http://schemas.microsoft.com/office/drawing/2014/main" id="{838F9294-7BDF-41C5-B5BB-FB0E86267879}"/>
              </a:ext>
            </a:extLst>
          </p:cNvPr>
          <p:cNvPicPr>
            <a:picLocks noChangeAspect="1"/>
          </p:cNvPicPr>
          <p:nvPr userDrawn="1"/>
        </p:nvPicPr>
        <p:blipFill>
          <a:blip r:embed="rId2"/>
          <a:stretch>
            <a:fillRect/>
          </a:stretch>
        </p:blipFill>
        <p:spPr>
          <a:xfrm>
            <a:off x="11353370" y="6550970"/>
            <a:ext cx="683290" cy="198497"/>
          </a:xfrm>
          <a:prstGeom prst="rect">
            <a:avLst/>
          </a:prstGeom>
        </p:spPr>
      </p:pic>
      <p:pic>
        <p:nvPicPr>
          <p:cNvPr id="8" name="Picture 7" descr="Shape&#10;&#10;Description automatically generated">
            <a:extLst>
              <a:ext uri="{FF2B5EF4-FFF2-40B4-BE49-F238E27FC236}">
                <a16:creationId xmlns:a16="http://schemas.microsoft.com/office/drawing/2014/main" id="{FC5CA985-E20D-4FE1-BD1C-44D7531B372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53800" y="5860939"/>
            <a:ext cx="685024" cy="677973"/>
          </a:xfrm>
          <a:prstGeom prst="rect">
            <a:avLst/>
          </a:prstGeom>
        </p:spPr>
      </p:pic>
      <p:pic>
        <p:nvPicPr>
          <p:cNvPr id="9" name="Picture 8" descr="Icon&#10;&#10;Description automatically generated">
            <a:extLst>
              <a:ext uri="{FF2B5EF4-FFF2-40B4-BE49-F238E27FC236}">
                <a16:creationId xmlns:a16="http://schemas.microsoft.com/office/drawing/2014/main" id="{71E28A5A-AE6F-46F7-9E95-84B5C34CAA8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55340" y="5972432"/>
            <a:ext cx="698174" cy="790333"/>
          </a:xfrm>
          <a:prstGeom prst="rect">
            <a:avLst/>
          </a:prstGeom>
        </p:spPr>
      </p:pic>
    </p:spTree>
    <p:extLst>
      <p:ext uri="{BB962C8B-B14F-4D97-AF65-F5344CB8AC3E}">
        <p14:creationId xmlns:p14="http://schemas.microsoft.com/office/powerpoint/2010/main" val="5437320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959644-94C5-49A4-A3EE-BFF04560B3FE}"/>
              </a:ext>
            </a:extLst>
          </p:cNvPr>
          <p:cNvSpPr>
            <a:spLocks noGrp="1"/>
          </p:cNvSpPr>
          <p:nvPr>
            <p:ph type="title"/>
          </p:nvPr>
        </p:nvSpPr>
        <p:spPr>
          <a:xfrm>
            <a:off x="839788" y="987424"/>
            <a:ext cx="3932237" cy="1069975"/>
          </a:xfrm>
        </p:spPr>
        <p:txBody>
          <a:bodyPr anchor="b"/>
          <a:lstStyle>
            <a:lvl1pPr>
              <a:defRPr sz="3200"/>
            </a:lvl1pPr>
          </a:lstStyle>
          <a:p>
            <a:r>
              <a:rPr lang="en-US"/>
              <a:t>Click to edit Master title style</a:t>
            </a:r>
            <a:endParaRPr lang="en-ZA"/>
          </a:p>
        </p:txBody>
      </p:sp>
      <p:sp>
        <p:nvSpPr>
          <p:cNvPr id="3" name="Content Placeholder 2">
            <a:extLst>
              <a:ext uri="{FF2B5EF4-FFF2-40B4-BE49-F238E27FC236}">
                <a16:creationId xmlns:a16="http://schemas.microsoft.com/office/drawing/2014/main" id="{FA0EEAE0-6062-425E-B0B7-2959903713C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a:extLst>
              <a:ext uri="{FF2B5EF4-FFF2-40B4-BE49-F238E27FC236}">
                <a16:creationId xmlns:a16="http://schemas.microsoft.com/office/drawing/2014/main" id="{A65BADEB-8E0B-4565-B629-80D42EB47CD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DCBEB71-0C17-4713-9A65-FF67BEAEC8FA}"/>
              </a:ext>
            </a:extLst>
          </p:cNvPr>
          <p:cNvSpPr>
            <a:spLocks noGrp="1"/>
          </p:cNvSpPr>
          <p:nvPr>
            <p:ph type="dt" sz="half" idx="10"/>
          </p:nvPr>
        </p:nvSpPr>
        <p:spPr/>
        <p:txBody>
          <a:bodyPr/>
          <a:lstStyle/>
          <a:p>
            <a:fld id="{4DE93D9E-E077-4E39-8C2F-FAD529FFDD7F}" type="datetimeFigureOut">
              <a:rPr lang="en-ZA" smtClean="0"/>
              <a:t>2022/04/26</a:t>
            </a:fld>
            <a:endParaRPr lang="en-ZA"/>
          </a:p>
        </p:txBody>
      </p:sp>
      <p:sp>
        <p:nvSpPr>
          <p:cNvPr id="6" name="Footer Placeholder 5">
            <a:extLst>
              <a:ext uri="{FF2B5EF4-FFF2-40B4-BE49-F238E27FC236}">
                <a16:creationId xmlns:a16="http://schemas.microsoft.com/office/drawing/2014/main" id="{D3A49D1E-FAB5-4A95-A0AA-3AFA2CDA02CE}"/>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83D58435-215D-4A9D-AAA0-E58C6E6C207A}"/>
              </a:ext>
            </a:extLst>
          </p:cNvPr>
          <p:cNvSpPr>
            <a:spLocks noGrp="1"/>
          </p:cNvSpPr>
          <p:nvPr>
            <p:ph type="sldNum" sz="quarter" idx="12"/>
          </p:nvPr>
        </p:nvSpPr>
        <p:spPr/>
        <p:txBody>
          <a:bodyPr/>
          <a:lstStyle/>
          <a:p>
            <a:fld id="{FC3FF7A7-BFAF-4B0F-90CB-8094933CE192}" type="slidenum">
              <a:rPr lang="en-ZA" smtClean="0"/>
              <a:t>‹#›</a:t>
            </a:fld>
            <a:endParaRPr lang="en-ZA"/>
          </a:p>
        </p:txBody>
      </p:sp>
      <p:pic>
        <p:nvPicPr>
          <p:cNvPr id="10" name="Picture 9">
            <a:extLst>
              <a:ext uri="{FF2B5EF4-FFF2-40B4-BE49-F238E27FC236}">
                <a16:creationId xmlns:a16="http://schemas.microsoft.com/office/drawing/2014/main" id="{1C143AFA-0FC7-45CC-89CC-A9F675F7BA17}"/>
              </a:ext>
            </a:extLst>
          </p:cNvPr>
          <p:cNvPicPr>
            <a:picLocks noChangeAspect="1"/>
          </p:cNvPicPr>
          <p:nvPr userDrawn="1"/>
        </p:nvPicPr>
        <p:blipFill>
          <a:blip r:embed="rId2"/>
          <a:stretch>
            <a:fillRect/>
          </a:stretch>
        </p:blipFill>
        <p:spPr>
          <a:xfrm>
            <a:off x="11353370" y="6550970"/>
            <a:ext cx="683290" cy="198497"/>
          </a:xfrm>
          <a:prstGeom prst="rect">
            <a:avLst/>
          </a:prstGeom>
        </p:spPr>
      </p:pic>
      <p:pic>
        <p:nvPicPr>
          <p:cNvPr id="11" name="Picture 10" descr="Shape&#10;&#10;Description automatically generated">
            <a:extLst>
              <a:ext uri="{FF2B5EF4-FFF2-40B4-BE49-F238E27FC236}">
                <a16:creationId xmlns:a16="http://schemas.microsoft.com/office/drawing/2014/main" id="{943D020C-A5AF-4AC2-AC37-44D9DDF0C7D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53800" y="5860939"/>
            <a:ext cx="685024" cy="677973"/>
          </a:xfrm>
          <a:prstGeom prst="rect">
            <a:avLst/>
          </a:prstGeom>
        </p:spPr>
      </p:pic>
      <p:pic>
        <p:nvPicPr>
          <p:cNvPr id="12" name="Picture 11" descr="Icon&#10;&#10;Description automatically generated">
            <a:extLst>
              <a:ext uri="{FF2B5EF4-FFF2-40B4-BE49-F238E27FC236}">
                <a16:creationId xmlns:a16="http://schemas.microsoft.com/office/drawing/2014/main" id="{B31976CD-10BA-4114-8928-D0B17F9BE7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55340" y="5972432"/>
            <a:ext cx="698174" cy="790333"/>
          </a:xfrm>
          <a:prstGeom prst="rect">
            <a:avLst/>
          </a:prstGeom>
        </p:spPr>
      </p:pic>
    </p:spTree>
    <p:extLst>
      <p:ext uri="{BB962C8B-B14F-4D97-AF65-F5344CB8AC3E}">
        <p14:creationId xmlns:p14="http://schemas.microsoft.com/office/powerpoint/2010/main" val="10838373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DDA42-692F-4F53-8341-A275FB43639B}"/>
              </a:ext>
            </a:extLst>
          </p:cNvPr>
          <p:cNvSpPr>
            <a:spLocks noGrp="1"/>
          </p:cNvSpPr>
          <p:nvPr>
            <p:ph type="title"/>
          </p:nvPr>
        </p:nvSpPr>
        <p:spPr>
          <a:xfrm>
            <a:off x="839788" y="987424"/>
            <a:ext cx="3932237" cy="1069975"/>
          </a:xfrm>
        </p:spPr>
        <p:txBody>
          <a:bodyPr anchor="b"/>
          <a:lstStyle>
            <a:lvl1pPr>
              <a:defRPr sz="3200"/>
            </a:lvl1pPr>
          </a:lstStyle>
          <a:p>
            <a:r>
              <a:rPr lang="en-US"/>
              <a:t>Click to edit Master title style</a:t>
            </a:r>
            <a:endParaRPr lang="en-ZA"/>
          </a:p>
        </p:txBody>
      </p:sp>
      <p:sp>
        <p:nvSpPr>
          <p:cNvPr id="3" name="Picture Placeholder 2">
            <a:extLst>
              <a:ext uri="{FF2B5EF4-FFF2-40B4-BE49-F238E27FC236}">
                <a16:creationId xmlns:a16="http://schemas.microsoft.com/office/drawing/2014/main" id="{F2A4FEFC-093C-4B62-842D-BE0C4696E21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a:extLst>
              <a:ext uri="{FF2B5EF4-FFF2-40B4-BE49-F238E27FC236}">
                <a16:creationId xmlns:a16="http://schemas.microsoft.com/office/drawing/2014/main" id="{405D830B-81CC-4743-A9A3-0D35ED21C4B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7731D57-66C4-45BB-9785-65645FBE7639}"/>
              </a:ext>
            </a:extLst>
          </p:cNvPr>
          <p:cNvSpPr>
            <a:spLocks noGrp="1"/>
          </p:cNvSpPr>
          <p:nvPr>
            <p:ph type="dt" sz="half" idx="10"/>
          </p:nvPr>
        </p:nvSpPr>
        <p:spPr/>
        <p:txBody>
          <a:bodyPr/>
          <a:lstStyle/>
          <a:p>
            <a:fld id="{4DE93D9E-E077-4E39-8C2F-FAD529FFDD7F}" type="datetimeFigureOut">
              <a:rPr lang="en-ZA" smtClean="0"/>
              <a:t>2022/04/26</a:t>
            </a:fld>
            <a:endParaRPr lang="en-ZA"/>
          </a:p>
        </p:txBody>
      </p:sp>
      <p:sp>
        <p:nvSpPr>
          <p:cNvPr id="6" name="Footer Placeholder 5">
            <a:extLst>
              <a:ext uri="{FF2B5EF4-FFF2-40B4-BE49-F238E27FC236}">
                <a16:creationId xmlns:a16="http://schemas.microsoft.com/office/drawing/2014/main" id="{A2582E3A-1E28-45C4-AF3E-BD177BB44A60}"/>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92FDC9D0-7A2E-4B59-B583-32EBEA4D3B07}"/>
              </a:ext>
            </a:extLst>
          </p:cNvPr>
          <p:cNvSpPr>
            <a:spLocks noGrp="1"/>
          </p:cNvSpPr>
          <p:nvPr>
            <p:ph type="sldNum" sz="quarter" idx="12"/>
          </p:nvPr>
        </p:nvSpPr>
        <p:spPr/>
        <p:txBody>
          <a:bodyPr/>
          <a:lstStyle/>
          <a:p>
            <a:fld id="{FC3FF7A7-BFAF-4B0F-90CB-8094933CE192}" type="slidenum">
              <a:rPr lang="en-ZA" smtClean="0"/>
              <a:t>‹#›</a:t>
            </a:fld>
            <a:endParaRPr lang="en-ZA"/>
          </a:p>
        </p:txBody>
      </p:sp>
      <p:pic>
        <p:nvPicPr>
          <p:cNvPr id="10" name="Picture 9">
            <a:extLst>
              <a:ext uri="{FF2B5EF4-FFF2-40B4-BE49-F238E27FC236}">
                <a16:creationId xmlns:a16="http://schemas.microsoft.com/office/drawing/2014/main" id="{20AA50DA-C8AF-4DD6-93D9-90071014C3A4}"/>
              </a:ext>
            </a:extLst>
          </p:cNvPr>
          <p:cNvPicPr>
            <a:picLocks noChangeAspect="1"/>
          </p:cNvPicPr>
          <p:nvPr userDrawn="1"/>
        </p:nvPicPr>
        <p:blipFill>
          <a:blip r:embed="rId2"/>
          <a:stretch>
            <a:fillRect/>
          </a:stretch>
        </p:blipFill>
        <p:spPr>
          <a:xfrm>
            <a:off x="11353370" y="6550970"/>
            <a:ext cx="683290" cy="198497"/>
          </a:xfrm>
          <a:prstGeom prst="rect">
            <a:avLst/>
          </a:prstGeom>
        </p:spPr>
      </p:pic>
      <p:pic>
        <p:nvPicPr>
          <p:cNvPr id="11" name="Picture 10" descr="Shape&#10;&#10;Description automatically generated">
            <a:extLst>
              <a:ext uri="{FF2B5EF4-FFF2-40B4-BE49-F238E27FC236}">
                <a16:creationId xmlns:a16="http://schemas.microsoft.com/office/drawing/2014/main" id="{BD3646E6-D3EA-4509-9D2C-4B689301EF8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53800" y="5860939"/>
            <a:ext cx="685024" cy="677973"/>
          </a:xfrm>
          <a:prstGeom prst="rect">
            <a:avLst/>
          </a:prstGeom>
        </p:spPr>
      </p:pic>
      <p:pic>
        <p:nvPicPr>
          <p:cNvPr id="12" name="Picture 11" descr="Icon&#10;&#10;Description automatically generated">
            <a:extLst>
              <a:ext uri="{FF2B5EF4-FFF2-40B4-BE49-F238E27FC236}">
                <a16:creationId xmlns:a16="http://schemas.microsoft.com/office/drawing/2014/main" id="{75F8E62B-61B1-49F2-9406-28C91E69521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55340" y="5972432"/>
            <a:ext cx="698174" cy="790333"/>
          </a:xfrm>
          <a:prstGeom prst="rect">
            <a:avLst/>
          </a:prstGeom>
        </p:spPr>
      </p:pic>
    </p:spTree>
    <p:extLst>
      <p:ext uri="{BB962C8B-B14F-4D97-AF65-F5344CB8AC3E}">
        <p14:creationId xmlns:p14="http://schemas.microsoft.com/office/powerpoint/2010/main" val="38715349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6A29ABF-87AB-4645-8635-ED301797C4ED}"/>
              </a:ext>
            </a:extLst>
          </p:cNvPr>
          <p:cNvSpPr>
            <a:spLocks noGrp="1"/>
          </p:cNvSpPr>
          <p:nvPr>
            <p:ph type="title"/>
          </p:nvPr>
        </p:nvSpPr>
        <p:spPr>
          <a:xfrm>
            <a:off x="838200" y="177037"/>
            <a:ext cx="10515600" cy="1008000"/>
          </a:xfrm>
          <a:prstGeom prst="rect">
            <a:avLst/>
          </a:prstGeom>
        </p:spPr>
        <p:txBody>
          <a:bodyPr vert="horz" lIns="91440" tIns="45720" rIns="91440" bIns="45720" rtlCol="0" anchor="ctr">
            <a:noAutofit/>
          </a:bodyPr>
          <a:lstStyle/>
          <a:p>
            <a:r>
              <a:rPr lang="en-US"/>
              <a:t>Click to edit Master title style</a:t>
            </a:r>
            <a:endParaRPr lang="en-ZA"/>
          </a:p>
        </p:txBody>
      </p:sp>
      <p:sp>
        <p:nvSpPr>
          <p:cNvPr id="3" name="Text Placeholder 2">
            <a:extLst>
              <a:ext uri="{FF2B5EF4-FFF2-40B4-BE49-F238E27FC236}">
                <a16:creationId xmlns:a16="http://schemas.microsoft.com/office/drawing/2014/main" id="{4CDCE8D5-899A-41C2-B696-AAF60632826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0556F467-7022-44FD-B2B3-B5FA7AE381F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Century Gothic" panose="020B0502020202020204" pitchFamily="34" charset="0"/>
              </a:defRPr>
            </a:lvl1pPr>
          </a:lstStyle>
          <a:p>
            <a:fld id="{4DE93D9E-E077-4E39-8C2F-FAD529FFDD7F}" type="datetimeFigureOut">
              <a:rPr lang="en-ZA" smtClean="0"/>
              <a:pPr/>
              <a:t>2022/04/26</a:t>
            </a:fld>
            <a:endParaRPr lang="en-ZA"/>
          </a:p>
        </p:txBody>
      </p:sp>
      <p:sp>
        <p:nvSpPr>
          <p:cNvPr id="5" name="Footer Placeholder 4">
            <a:extLst>
              <a:ext uri="{FF2B5EF4-FFF2-40B4-BE49-F238E27FC236}">
                <a16:creationId xmlns:a16="http://schemas.microsoft.com/office/drawing/2014/main" id="{2155D986-B368-4F53-A3D9-8D10BC602A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a:solidFill>
                  <a:sysClr val="windowText" lastClr="000000"/>
                </a:solidFill>
                <a:latin typeface="Century Gothic" panose="020B0502020202020204" pitchFamily="34" charset="0"/>
              </a:defRPr>
            </a:lvl1pPr>
          </a:lstStyle>
          <a:p>
            <a:endParaRPr lang="en-ZA"/>
          </a:p>
        </p:txBody>
      </p:sp>
      <p:sp>
        <p:nvSpPr>
          <p:cNvPr id="6" name="Slide Number Placeholder 5">
            <a:extLst>
              <a:ext uri="{FF2B5EF4-FFF2-40B4-BE49-F238E27FC236}">
                <a16:creationId xmlns:a16="http://schemas.microsoft.com/office/drawing/2014/main" id="{72D4F129-CB95-4419-8B8F-F90965CC5BE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entury Gothic" panose="020B0502020202020204" pitchFamily="34" charset="0"/>
              </a:defRPr>
            </a:lvl1pPr>
          </a:lstStyle>
          <a:p>
            <a:fld id="{FC3FF7A7-BFAF-4B0F-90CB-8094933CE192}" type="slidenum">
              <a:rPr lang="en-ZA" smtClean="0"/>
              <a:pPr/>
              <a:t>‹#›</a:t>
            </a:fld>
            <a:endParaRPr lang="en-ZA"/>
          </a:p>
        </p:txBody>
      </p:sp>
    </p:spTree>
    <p:extLst>
      <p:ext uri="{BB962C8B-B14F-4D97-AF65-F5344CB8AC3E}">
        <p14:creationId xmlns:p14="http://schemas.microsoft.com/office/powerpoint/2010/main" val="16393239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txStyles>
    <p:titleStyle>
      <a:lvl1pPr algn="l" defTabSz="914400" rtl="0" eaLnBrk="1" latinLnBrk="0" hangingPunct="1">
        <a:lnSpc>
          <a:spcPct val="90000"/>
        </a:lnSpc>
        <a:spcBef>
          <a:spcPct val="0"/>
        </a:spcBef>
        <a:buNone/>
        <a:defRPr sz="4400" kern="1200">
          <a:solidFill>
            <a:schemeClr val="tx2"/>
          </a:solidFill>
          <a:latin typeface="Century Gothic" panose="020B0502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8.png"/><Relationship Id="rId7"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0.svg"/><Relationship Id="rId5" Type="http://schemas.openxmlformats.org/officeDocument/2006/relationships/image" Target="../media/image9.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0BC7469-72BD-436B-B157-972AB75D7B50}"/>
              </a:ext>
            </a:extLst>
          </p:cNvPr>
          <p:cNvSpPr txBox="1">
            <a:spLocks/>
          </p:cNvSpPr>
          <p:nvPr/>
        </p:nvSpPr>
        <p:spPr>
          <a:xfrm>
            <a:off x="831849" y="1103347"/>
            <a:ext cx="10515600" cy="368975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ZA" sz="6600">
              <a:solidFill>
                <a:schemeClr val="bg1"/>
              </a:solidFill>
              <a:latin typeface="Century Gothic"/>
            </a:endParaRPr>
          </a:p>
        </p:txBody>
      </p:sp>
      <p:sp>
        <p:nvSpPr>
          <p:cNvPr id="10" name="Title 9">
            <a:extLst>
              <a:ext uri="{FF2B5EF4-FFF2-40B4-BE49-F238E27FC236}">
                <a16:creationId xmlns:a16="http://schemas.microsoft.com/office/drawing/2014/main" id="{7C39A5D5-5B70-464E-8C6B-E66677EE99F3}"/>
              </a:ext>
            </a:extLst>
          </p:cNvPr>
          <p:cNvSpPr>
            <a:spLocks noGrp="1"/>
          </p:cNvSpPr>
          <p:nvPr>
            <p:ph type="ctrTitle"/>
          </p:nvPr>
        </p:nvSpPr>
        <p:spPr>
          <a:solidFill>
            <a:schemeClr val="bg1"/>
          </a:solidFill>
        </p:spPr>
        <p:txBody>
          <a:bodyPr vert="horz" lIns="91440" tIns="45720" rIns="91440" bIns="45720" rtlCol="0" anchor="b">
            <a:normAutofit fontScale="90000"/>
          </a:bodyPr>
          <a:lstStyle/>
          <a:p>
            <a:pPr algn="l"/>
            <a:r>
              <a:rPr lang="en-ZA" b="1">
                <a:solidFill>
                  <a:srgbClr val="278235"/>
                </a:solidFill>
                <a:latin typeface="Century Gothic"/>
              </a:rPr>
              <a:t>Actio:</a:t>
            </a:r>
            <a:br>
              <a:rPr lang="en-ZA" b="1">
                <a:latin typeface="Century Gothic"/>
              </a:rPr>
            </a:br>
            <a:r>
              <a:rPr lang="en-ZA" b="1">
                <a:solidFill>
                  <a:srgbClr val="278235"/>
                </a:solidFill>
                <a:latin typeface="Century Gothic"/>
              </a:rPr>
              <a:t>An OSS Anti-Financial Crime and Risk Management Solution</a:t>
            </a:r>
          </a:p>
        </p:txBody>
      </p:sp>
      <p:sp>
        <p:nvSpPr>
          <p:cNvPr id="11" name="Subtitle 10">
            <a:extLst>
              <a:ext uri="{FF2B5EF4-FFF2-40B4-BE49-F238E27FC236}">
                <a16:creationId xmlns:a16="http://schemas.microsoft.com/office/drawing/2014/main" id="{111E301B-7C59-4803-90ED-7FD083607EEC}"/>
              </a:ext>
            </a:extLst>
          </p:cNvPr>
          <p:cNvSpPr>
            <a:spLocks noGrp="1"/>
          </p:cNvSpPr>
          <p:nvPr>
            <p:ph type="subTitle" idx="1"/>
          </p:nvPr>
        </p:nvSpPr>
        <p:spPr/>
        <p:txBody>
          <a:bodyPr anchor="ctr"/>
          <a:lstStyle/>
          <a:p>
            <a:r>
              <a:rPr lang="en-ZA" dirty="0">
                <a:latin typeface="Century Gothic"/>
              </a:rPr>
              <a:t>PI 17 Review</a:t>
            </a:r>
          </a:p>
          <a:p>
            <a:r>
              <a:rPr lang="en-ZA" dirty="0">
                <a:latin typeface="Century Gothic"/>
              </a:rPr>
              <a:t>2022-04-27</a:t>
            </a:r>
          </a:p>
        </p:txBody>
      </p:sp>
    </p:spTree>
    <p:extLst>
      <p:ext uri="{BB962C8B-B14F-4D97-AF65-F5344CB8AC3E}">
        <p14:creationId xmlns:p14="http://schemas.microsoft.com/office/powerpoint/2010/main" val="17774585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3E750AF-80ED-4120-8FB5-0010EFE1F918}"/>
              </a:ext>
            </a:extLst>
          </p:cNvPr>
          <p:cNvSpPr txBox="1"/>
          <p:nvPr/>
        </p:nvSpPr>
        <p:spPr>
          <a:xfrm>
            <a:off x="430923" y="419677"/>
            <a:ext cx="6432331" cy="400110"/>
          </a:xfrm>
          <a:prstGeom prst="rect">
            <a:avLst/>
          </a:prstGeom>
          <a:noFill/>
        </p:spPr>
        <p:txBody>
          <a:bodyPr wrap="square">
            <a:spAutoFit/>
          </a:bodyPr>
          <a:lstStyle/>
          <a:p>
            <a:r>
              <a:rPr lang="en-ZA" sz="2000" b="1" dirty="0">
                <a:solidFill>
                  <a:srgbClr val="278235"/>
                </a:solidFill>
                <a:latin typeface="Century Gothic" panose="020B0502020202020204" pitchFamily="34" charset="0"/>
              </a:rPr>
              <a:t>Azure infrastructure breakdown and costing</a:t>
            </a:r>
            <a:endParaRPr lang="en-ZA" sz="2000" dirty="0"/>
          </a:p>
        </p:txBody>
      </p:sp>
      <p:sp>
        <p:nvSpPr>
          <p:cNvPr id="6" name="TextBox 5">
            <a:extLst>
              <a:ext uri="{FF2B5EF4-FFF2-40B4-BE49-F238E27FC236}">
                <a16:creationId xmlns:a16="http://schemas.microsoft.com/office/drawing/2014/main" id="{61BBECF4-BA74-4246-8AD1-73C649C31A41}"/>
              </a:ext>
            </a:extLst>
          </p:cNvPr>
          <p:cNvSpPr txBox="1"/>
          <p:nvPr/>
        </p:nvSpPr>
        <p:spPr>
          <a:xfrm>
            <a:off x="425669" y="1208689"/>
            <a:ext cx="11340662" cy="6432530"/>
          </a:xfrm>
          <a:prstGeom prst="rect">
            <a:avLst/>
          </a:prstGeom>
          <a:noFill/>
        </p:spPr>
        <p:txBody>
          <a:bodyPr wrap="square" rtlCol="0">
            <a:spAutoFit/>
          </a:bodyPr>
          <a:lstStyle/>
          <a:p>
            <a:r>
              <a:rPr lang="en-ZA" sz="1800" b="1" u="sng" dirty="0">
                <a:solidFill>
                  <a:srgbClr val="278235"/>
                </a:solidFill>
                <a:latin typeface="Century Gothic" panose="020B0502020202020204" pitchFamily="34" charset="0"/>
              </a:rPr>
              <a:t>Costing</a:t>
            </a:r>
          </a:p>
          <a:p>
            <a:endParaRPr lang="en-ZA" b="1" dirty="0">
              <a:solidFill>
                <a:srgbClr val="278235"/>
              </a:solidFill>
              <a:latin typeface="Century Gothic" panose="020B0502020202020204" pitchFamily="34" charset="0"/>
            </a:endParaRPr>
          </a:p>
          <a:p>
            <a:r>
              <a:rPr lang="en-ZA" dirty="0">
                <a:latin typeface="Century Gothic" panose="020B0502020202020204" pitchFamily="34" charset="0"/>
              </a:rPr>
              <a:t>To run the current setup will cost an average of</a:t>
            </a:r>
          </a:p>
          <a:p>
            <a:r>
              <a:rPr lang="en-ZA" dirty="0">
                <a:latin typeface="Century Gothic" panose="020B0502020202020204" pitchFamily="34" charset="0"/>
              </a:rPr>
              <a:t> R24 000 ($1527,12)/ R30 000 ($1912,50) per month</a:t>
            </a:r>
          </a:p>
          <a:p>
            <a:endParaRPr lang="en-ZA" b="1" dirty="0">
              <a:solidFill>
                <a:srgbClr val="278235"/>
              </a:solidFill>
              <a:latin typeface="Century Gothic" panose="020B0502020202020204" pitchFamily="34" charset="0"/>
            </a:endParaRPr>
          </a:p>
          <a:p>
            <a:r>
              <a:rPr lang="en-ZA" b="1" u="sng" dirty="0">
                <a:solidFill>
                  <a:srgbClr val="278235"/>
                </a:solidFill>
                <a:latin typeface="Century Gothic" panose="020B0502020202020204" pitchFamily="34" charset="0"/>
              </a:rPr>
              <a:t>Breakdown</a:t>
            </a:r>
          </a:p>
          <a:p>
            <a:endParaRPr lang="en-ZA" sz="1800" b="1" u="sng" dirty="0">
              <a:solidFill>
                <a:srgbClr val="278235"/>
              </a:solidFill>
              <a:latin typeface="Century Gothic" panose="020B0502020202020204" pitchFamily="34" charset="0"/>
            </a:endParaRPr>
          </a:p>
          <a:p>
            <a:r>
              <a:rPr lang="en-ZA" sz="1600" dirty="0">
                <a:solidFill>
                  <a:srgbClr val="278235"/>
                </a:solidFill>
                <a:latin typeface="Century Gothic" panose="020B0502020202020204" pitchFamily="34" charset="0"/>
              </a:rPr>
              <a:t>The following shows the infrastructure being used be:</a:t>
            </a:r>
          </a:p>
          <a:p>
            <a:endParaRPr lang="en-ZA" b="1" u="sng" dirty="0">
              <a:solidFill>
                <a:srgbClr val="278235"/>
              </a:solidFill>
              <a:latin typeface="Century Gothic" panose="020B0502020202020204" pitchFamily="34" charset="0"/>
            </a:endParaRPr>
          </a:p>
          <a:p>
            <a:pPr marL="285750" indent="-285750">
              <a:buFont typeface="Arial" panose="020B0604020202020204" pitchFamily="34" charset="0"/>
              <a:buChar char="•"/>
            </a:pPr>
            <a:r>
              <a:rPr lang="en-ZA" sz="1800" b="1" dirty="0">
                <a:solidFill>
                  <a:srgbClr val="278235"/>
                </a:solidFill>
                <a:latin typeface="Century Gothic" panose="020B0502020202020204" pitchFamily="34" charset="0"/>
              </a:rPr>
              <a:t>Disks - 28</a:t>
            </a:r>
          </a:p>
          <a:p>
            <a:pPr marL="285750" indent="-285750">
              <a:buFont typeface="Arial" panose="020B0604020202020204" pitchFamily="34" charset="0"/>
              <a:buChar char="•"/>
            </a:pPr>
            <a:r>
              <a:rPr lang="en-ZA" sz="1800" b="1" dirty="0">
                <a:solidFill>
                  <a:srgbClr val="278235"/>
                </a:solidFill>
                <a:latin typeface="Century Gothic" panose="020B0502020202020204" pitchFamily="34" charset="0"/>
              </a:rPr>
              <a:t>Public IP Addresses - 3</a:t>
            </a:r>
          </a:p>
          <a:p>
            <a:pPr marL="285750" indent="-285750">
              <a:buFont typeface="Arial" panose="020B0604020202020204" pitchFamily="34" charset="0"/>
              <a:buChar char="•"/>
            </a:pPr>
            <a:r>
              <a:rPr lang="en-ZA" b="1" dirty="0">
                <a:solidFill>
                  <a:srgbClr val="278235"/>
                </a:solidFill>
                <a:latin typeface="Century Gothic" panose="020B0502020202020204" pitchFamily="34" charset="0"/>
              </a:rPr>
              <a:t>Load balancers - 1</a:t>
            </a:r>
          </a:p>
          <a:p>
            <a:pPr marL="285750" indent="-285750">
              <a:buFont typeface="Arial" panose="020B0604020202020204" pitchFamily="34" charset="0"/>
              <a:buChar char="•"/>
            </a:pPr>
            <a:r>
              <a:rPr lang="en-ZA" sz="1800" b="1" dirty="0">
                <a:solidFill>
                  <a:srgbClr val="278235"/>
                </a:solidFill>
                <a:latin typeface="Century Gothic" panose="020B0502020202020204" pitchFamily="34" charset="0"/>
              </a:rPr>
              <a:t>Virtual machine scale set - 2</a:t>
            </a:r>
          </a:p>
          <a:p>
            <a:pPr marL="285750" indent="-285750">
              <a:buFont typeface="Arial" panose="020B0604020202020204" pitchFamily="34" charset="0"/>
              <a:buChar char="•"/>
            </a:pPr>
            <a:r>
              <a:rPr lang="en-ZA" b="1" dirty="0">
                <a:solidFill>
                  <a:srgbClr val="278235"/>
                </a:solidFill>
                <a:latin typeface="Century Gothic" panose="020B0502020202020204" pitchFamily="34" charset="0"/>
              </a:rPr>
              <a:t>Virtual Network - 1</a:t>
            </a:r>
          </a:p>
          <a:p>
            <a:pPr marL="285750" indent="-285750">
              <a:buFont typeface="Arial" panose="020B0604020202020204" pitchFamily="34" charset="0"/>
              <a:buChar char="•"/>
            </a:pPr>
            <a:r>
              <a:rPr lang="en-ZA" sz="1800" b="1" dirty="0">
                <a:solidFill>
                  <a:srgbClr val="278235"/>
                </a:solidFill>
                <a:latin typeface="Century Gothic" panose="020B0502020202020204" pitchFamily="34" charset="0"/>
              </a:rPr>
              <a:t>Route table </a:t>
            </a:r>
            <a:r>
              <a:rPr lang="en-ZA" b="1" dirty="0">
                <a:solidFill>
                  <a:srgbClr val="278235"/>
                </a:solidFill>
                <a:latin typeface="Century Gothic" panose="020B0502020202020204" pitchFamily="34" charset="0"/>
              </a:rPr>
              <a:t>-</a:t>
            </a:r>
            <a:r>
              <a:rPr lang="en-ZA" sz="1800" b="1" dirty="0">
                <a:solidFill>
                  <a:srgbClr val="278235"/>
                </a:solidFill>
                <a:latin typeface="Century Gothic" panose="020B0502020202020204" pitchFamily="34" charset="0"/>
              </a:rPr>
              <a:t> 1</a:t>
            </a:r>
          </a:p>
          <a:p>
            <a:pPr marL="285750" indent="-285750">
              <a:buFont typeface="Arial" panose="020B0604020202020204" pitchFamily="34" charset="0"/>
              <a:buChar char="•"/>
            </a:pPr>
            <a:r>
              <a:rPr lang="en-ZA" b="1" dirty="0">
                <a:solidFill>
                  <a:srgbClr val="278235"/>
                </a:solidFill>
                <a:latin typeface="Century Gothic" panose="020B0502020202020204" pitchFamily="34" charset="0"/>
              </a:rPr>
              <a:t>Network security group - 1</a:t>
            </a:r>
          </a:p>
          <a:p>
            <a:pPr marL="285750" indent="-285750">
              <a:buFont typeface="Arial" panose="020B0604020202020204" pitchFamily="34" charset="0"/>
              <a:buChar char="•"/>
            </a:pPr>
            <a:r>
              <a:rPr lang="en-ZA" sz="1800" b="1" dirty="0">
                <a:solidFill>
                  <a:srgbClr val="278235"/>
                </a:solidFill>
                <a:latin typeface="Century Gothic" panose="020B0502020202020204" pitchFamily="34" charset="0"/>
              </a:rPr>
              <a:t>Managed Identity - 1</a:t>
            </a:r>
          </a:p>
          <a:p>
            <a:pPr marL="285750" indent="-285750">
              <a:buFont typeface="Arial" panose="020B0604020202020204" pitchFamily="34" charset="0"/>
              <a:buChar char="•"/>
            </a:pPr>
            <a:endParaRPr lang="en-ZA" sz="1800" b="1" u="sng" dirty="0">
              <a:solidFill>
                <a:srgbClr val="278235"/>
              </a:solidFill>
              <a:latin typeface="Century Gothic" panose="020B0502020202020204" pitchFamily="34" charset="0"/>
            </a:endParaRPr>
          </a:p>
          <a:p>
            <a:endParaRPr lang="en-ZA" b="1" dirty="0">
              <a:solidFill>
                <a:srgbClr val="278235"/>
              </a:solidFill>
              <a:latin typeface="Century Gothic" panose="020B0502020202020204" pitchFamily="34" charset="0"/>
            </a:endParaRPr>
          </a:p>
          <a:p>
            <a:endParaRPr lang="en-ZA" b="1" dirty="0">
              <a:solidFill>
                <a:srgbClr val="278235"/>
              </a:solidFill>
              <a:latin typeface="Century Gothic" panose="020B0502020202020204" pitchFamily="34" charset="0"/>
            </a:endParaRPr>
          </a:p>
          <a:p>
            <a:endParaRPr lang="en-ZA" b="1" dirty="0">
              <a:solidFill>
                <a:srgbClr val="278235"/>
              </a:solidFill>
              <a:latin typeface="Century Gothic" panose="020B0502020202020204" pitchFamily="34" charset="0"/>
            </a:endParaRPr>
          </a:p>
          <a:p>
            <a:endParaRPr lang="en-ZA" dirty="0"/>
          </a:p>
          <a:p>
            <a:endParaRPr lang="en-ZA" dirty="0"/>
          </a:p>
        </p:txBody>
      </p:sp>
      <p:pic>
        <p:nvPicPr>
          <p:cNvPr id="8" name="Picture 7">
            <a:extLst>
              <a:ext uri="{FF2B5EF4-FFF2-40B4-BE49-F238E27FC236}">
                <a16:creationId xmlns:a16="http://schemas.microsoft.com/office/drawing/2014/main" id="{E4FFDA8B-110D-45BE-9F2A-0DF3ACDE894D}"/>
              </a:ext>
            </a:extLst>
          </p:cNvPr>
          <p:cNvPicPr>
            <a:picLocks noChangeAspect="1"/>
          </p:cNvPicPr>
          <p:nvPr/>
        </p:nvPicPr>
        <p:blipFill>
          <a:blip r:embed="rId3"/>
          <a:stretch>
            <a:fillRect/>
          </a:stretch>
        </p:blipFill>
        <p:spPr>
          <a:xfrm>
            <a:off x="4400221" y="3685598"/>
            <a:ext cx="6838950" cy="2752725"/>
          </a:xfrm>
          <a:prstGeom prst="rect">
            <a:avLst/>
          </a:prstGeom>
        </p:spPr>
      </p:pic>
    </p:spTree>
    <p:extLst>
      <p:ext uri="{BB962C8B-B14F-4D97-AF65-F5344CB8AC3E}">
        <p14:creationId xmlns:p14="http://schemas.microsoft.com/office/powerpoint/2010/main" val="12829151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BE81D6-4940-4C93-AC05-0C1863F4CA32}"/>
              </a:ext>
            </a:extLst>
          </p:cNvPr>
          <p:cNvPicPr>
            <a:picLocks noChangeAspect="1"/>
          </p:cNvPicPr>
          <p:nvPr/>
        </p:nvPicPr>
        <p:blipFill>
          <a:blip r:embed="rId3"/>
          <a:stretch>
            <a:fillRect/>
          </a:stretch>
        </p:blipFill>
        <p:spPr>
          <a:xfrm>
            <a:off x="1918138" y="0"/>
            <a:ext cx="8355723" cy="6858000"/>
          </a:xfrm>
          <a:prstGeom prst="rect">
            <a:avLst/>
          </a:prstGeom>
        </p:spPr>
      </p:pic>
    </p:spTree>
    <p:extLst>
      <p:ext uri="{BB962C8B-B14F-4D97-AF65-F5344CB8AC3E}">
        <p14:creationId xmlns:p14="http://schemas.microsoft.com/office/powerpoint/2010/main" val="30918674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29232A-04B2-43A9-856C-32001C4B45FC}"/>
              </a:ext>
            </a:extLst>
          </p:cNvPr>
          <p:cNvSpPr>
            <a:spLocks noGrp="1"/>
          </p:cNvSpPr>
          <p:nvPr>
            <p:ph type="title"/>
          </p:nvPr>
        </p:nvSpPr>
        <p:spPr>
          <a:xfrm>
            <a:off x="838200" y="2205059"/>
            <a:ext cx="10515600" cy="1008000"/>
          </a:xfrm>
          <a:solidFill>
            <a:schemeClr val="bg1"/>
          </a:solidFill>
        </p:spPr>
        <p:txBody>
          <a:bodyPr vert="horz" lIns="91440" tIns="45720" rIns="91440" bIns="45720" rtlCol="0" anchor="b">
            <a:normAutofit/>
          </a:bodyPr>
          <a:lstStyle/>
          <a:p>
            <a:pPr algn="ctr"/>
            <a:r>
              <a:rPr lang="en-ZA" sz="6000" b="1" dirty="0">
                <a:solidFill>
                  <a:srgbClr val="278235"/>
                </a:solidFill>
                <a:latin typeface="Century Gothic" panose="020B0502020202020204" pitchFamily="34" charset="0"/>
              </a:rPr>
              <a:t>Actio Demo</a:t>
            </a:r>
          </a:p>
        </p:txBody>
      </p:sp>
    </p:spTree>
    <p:extLst>
      <p:ext uri="{BB962C8B-B14F-4D97-AF65-F5344CB8AC3E}">
        <p14:creationId xmlns:p14="http://schemas.microsoft.com/office/powerpoint/2010/main" val="13019599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29232A-04B2-43A9-856C-32001C4B45FC}"/>
              </a:ext>
            </a:extLst>
          </p:cNvPr>
          <p:cNvSpPr>
            <a:spLocks noGrp="1"/>
          </p:cNvSpPr>
          <p:nvPr>
            <p:ph type="title"/>
          </p:nvPr>
        </p:nvSpPr>
        <p:spPr>
          <a:xfrm>
            <a:off x="838200" y="2205059"/>
            <a:ext cx="10515600" cy="1008000"/>
          </a:xfrm>
          <a:solidFill>
            <a:schemeClr val="bg1"/>
          </a:solidFill>
        </p:spPr>
        <p:txBody>
          <a:bodyPr vert="horz" lIns="91440" tIns="45720" rIns="91440" bIns="45720" rtlCol="0" anchor="b">
            <a:normAutofit/>
          </a:bodyPr>
          <a:lstStyle/>
          <a:p>
            <a:pPr algn="ctr"/>
            <a:r>
              <a:rPr lang="en-ZA" sz="6000" b="1" dirty="0">
                <a:solidFill>
                  <a:srgbClr val="278235"/>
                </a:solidFill>
                <a:latin typeface="Century Gothic" panose="020B0502020202020204" pitchFamily="34" charset="0"/>
              </a:rPr>
              <a:t>Actio Performance Demo</a:t>
            </a:r>
          </a:p>
        </p:txBody>
      </p:sp>
    </p:spTree>
    <p:extLst>
      <p:ext uri="{BB962C8B-B14F-4D97-AF65-F5344CB8AC3E}">
        <p14:creationId xmlns:p14="http://schemas.microsoft.com/office/powerpoint/2010/main" val="41100546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29232A-04B2-43A9-856C-32001C4B45FC}"/>
              </a:ext>
            </a:extLst>
          </p:cNvPr>
          <p:cNvSpPr>
            <a:spLocks noGrp="1"/>
          </p:cNvSpPr>
          <p:nvPr>
            <p:ph type="title"/>
          </p:nvPr>
        </p:nvSpPr>
        <p:spPr/>
        <p:txBody>
          <a:bodyPr/>
          <a:lstStyle/>
          <a:p>
            <a:r>
              <a:rPr lang="en-ZA" b="1" dirty="0">
                <a:latin typeface="Century Gothic" panose="020B0502020202020204" pitchFamily="34" charset="0"/>
              </a:rPr>
              <a:t>Project round-up</a:t>
            </a:r>
          </a:p>
        </p:txBody>
      </p:sp>
      <p:sp>
        <p:nvSpPr>
          <p:cNvPr id="6" name="Content Placeholder 5">
            <a:extLst>
              <a:ext uri="{FF2B5EF4-FFF2-40B4-BE49-F238E27FC236}">
                <a16:creationId xmlns:a16="http://schemas.microsoft.com/office/drawing/2014/main" id="{0B485F50-2665-4C01-8321-813BF15861BB}"/>
              </a:ext>
            </a:extLst>
          </p:cNvPr>
          <p:cNvSpPr>
            <a:spLocks noGrp="1"/>
          </p:cNvSpPr>
          <p:nvPr>
            <p:ph idx="1"/>
          </p:nvPr>
        </p:nvSpPr>
        <p:spPr/>
        <p:txBody>
          <a:bodyPr>
            <a:normAutofit/>
          </a:bodyPr>
          <a:lstStyle/>
          <a:p>
            <a:r>
              <a:rPr lang="en-GB" b="0" i="0" dirty="0">
                <a:solidFill>
                  <a:srgbClr val="172B4D"/>
                </a:solidFill>
                <a:effectLst/>
                <a:latin typeface="-apple-system"/>
              </a:rPr>
              <a:t>3 month PoC + 15 months to build</a:t>
            </a:r>
          </a:p>
          <a:p>
            <a:r>
              <a:rPr lang="en-GB" b="0" i="0" dirty="0">
                <a:solidFill>
                  <a:srgbClr val="172B4D"/>
                </a:solidFill>
                <a:effectLst/>
                <a:latin typeface="-apple-system"/>
              </a:rPr>
              <a:t>1060 epics, user stories and tasks</a:t>
            </a:r>
          </a:p>
          <a:p>
            <a:r>
              <a:rPr lang="en-ZA" dirty="0">
                <a:solidFill>
                  <a:srgbClr val="172B4D"/>
                </a:solidFill>
                <a:latin typeface="-apple-system"/>
              </a:rPr>
              <a:t>5 SMEs</a:t>
            </a:r>
          </a:p>
          <a:p>
            <a:r>
              <a:rPr lang="en-GB" dirty="0">
                <a:solidFill>
                  <a:srgbClr val="172B4D"/>
                </a:solidFill>
                <a:latin typeface="-apple-system"/>
              </a:rPr>
              <a:t>4 architects</a:t>
            </a:r>
            <a:endParaRPr lang="en-GB" b="0" i="0" dirty="0">
              <a:solidFill>
                <a:srgbClr val="172B4D"/>
              </a:solidFill>
              <a:effectLst/>
              <a:latin typeface="-apple-system"/>
            </a:endParaRPr>
          </a:p>
          <a:p>
            <a:r>
              <a:rPr lang="en-ZA" dirty="0">
                <a:solidFill>
                  <a:srgbClr val="172B4D"/>
                </a:solidFill>
                <a:latin typeface="-apple-system"/>
              </a:rPr>
              <a:t>2 DevOps engineers</a:t>
            </a:r>
          </a:p>
          <a:p>
            <a:r>
              <a:rPr lang="en-ZA" dirty="0">
                <a:solidFill>
                  <a:srgbClr val="172B4D"/>
                </a:solidFill>
                <a:latin typeface="-apple-system"/>
              </a:rPr>
              <a:t>11 developers</a:t>
            </a:r>
          </a:p>
        </p:txBody>
      </p:sp>
    </p:spTree>
    <p:extLst>
      <p:ext uri="{BB962C8B-B14F-4D97-AF65-F5344CB8AC3E}">
        <p14:creationId xmlns:p14="http://schemas.microsoft.com/office/powerpoint/2010/main" val="29722618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29232A-04B2-43A9-856C-32001C4B45FC}"/>
              </a:ext>
            </a:extLst>
          </p:cNvPr>
          <p:cNvSpPr>
            <a:spLocks noGrp="1"/>
          </p:cNvSpPr>
          <p:nvPr>
            <p:ph type="title"/>
          </p:nvPr>
        </p:nvSpPr>
        <p:spPr>
          <a:xfrm>
            <a:off x="838200" y="2205059"/>
            <a:ext cx="10515600" cy="1008000"/>
          </a:xfrm>
          <a:solidFill>
            <a:schemeClr val="bg1"/>
          </a:solidFill>
        </p:spPr>
        <p:txBody>
          <a:bodyPr vert="horz" lIns="91440" tIns="45720" rIns="91440" bIns="45720" rtlCol="0" anchor="b">
            <a:normAutofit/>
          </a:bodyPr>
          <a:lstStyle/>
          <a:p>
            <a:pPr algn="ctr"/>
            <a:r>
              <a:rPr lang="en-ZA" sz="6000" b="1" dirty="0">
                <a:solidFill>
                  <a:srgbClr val="278235"/>
                </a:solidFill>
                <a:latin typeface="Century Gothic" panose="020B0502020202020204" pitchFamily="34" charset="0"/>
              </a:rPr>
              <a:t>Questions?</a:t>
            </a:r>
          </a:p>
        </p:txBody>
      </p:sp>
    </p:spTree>
    <p:extLst>
      <p:ext uri="{BB962C8B-B14F-4D97-AF65-F5344CB8AC3E}">
        <p14:creationId xmlns:p14="http://schemas.microsoft.com/office/powerpoint/2010/main" val="40688623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B8B31E-E9A3-459A-A814-1A0E4B3159CF}"/>
              </a:ext>
            </a:extLst>
          </p:cNvPr>
          <p:cNvSpPr>
            <a:spLocks noGrp="1"/>
          </p:cNvSpPr>
          <p:nvPr>
            <p:ph type="title"/>
          </p:nvPr>
        </p:nvSpPr>
        <p:spPr/>
        <p:txBody>
          <a:bodyPr/>
          <a:lstStyle/>
          <a:p>
            <a:r>
              <a:rPr lang="en-ZA" b="1">
                <a:latin typeface="Century Gothic"/>
              </a:rPr>
              <a:t>Actio FCRMS - MVP Journey</a:t>
            </a:r>
          </a:p>
        </p:txBody>
      </p:sp>
      <p:grpSp>
        <p:nvGrpSpPr>
          <p:cNvPr id="2" name="Group 1">
            <a:extLst>
              <a:ext uri="{FF2B5EF4-FFF2-40B4-BE49-F238E27FC236}">
                <a16:creationId xmlns:a16="http://schemas.microsoft.com/office/drawing/2014/main" id="{74677504-F87E-4748-AE8F-6D82AC5CD54A}"/>
              </a:ext>
            </a:extLst>
          </p:cNvPr>
          <p:cNvGrpSpPr/>
          <p:nvPr/>
        </p:nvGrpSpPr>
        <p:grpSpPr>
          <a:xfrm>
            <a:off x="828364" y="1185037"/>
            <a:ext cx="21284380" cy="5503686"/>
            <a:chOff x="828364" y="1185037"/>
            <a:chExt cx="21284380" cy="5503686"/>
          </a:xfrm>
        </p:grpSpPr>
        <p:sp>
          <p:nvSpPr>
            <p:cNvPr id="6" name="Rounded Rectangle 9">
              <a:extLst>
                <a:ext uri="{FF2B5EF4-FFF2-40B4-BE49-F238E27FC236}">
                  <a16:creationId xmlns:a16="http://schemas.microsoft.com/office/drawing/2014/main" id="{616C7B9F-965B-4930-92CE-32610E8DC07B}"/>
                </a:ext>
              </a:extLst>
            </p:cNvPr>
            <p:cNvSpPr/>
            <p:nvPr/>
          </p:nvSpPr>
          <p:spPr>
            <a:xfrm>
              <a:off x="828364" y="1815105"/>
              <a:ext cx="3240000" cy="576062"/>
            </a:xfrm>
            <a:prstGeom prst="roundRect">
              <a:avLst/>
            </a:prstGeom>
            <a:blipFill>
              <a:blip r:embed="rId2">
                <a:alphaModFix amt="90000"/>
                <a:duotone>
                  <a:schemeClr val="accent6">
                    <a:shade val="45000"/>
                    <a:satMod val="135000"/>
                  </a:schemeClr>
                  <a:prstClr val="white"/>
                </a:duotone>
              </a:blip>
              <a:stretch>
                <a:fillRect/>
              </a:stretch>
            </a:blip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800" b="1">
                  <a:latin typeface="Century Gothic"/>
                </a:rPr>
                <a:t>Actio PI 1 - PoC</a:t>
              </a:r>
            </a:p>
          </p:txBody>
        </p:sp>
        <p:sp>
          <p:nvSpPr>
            <p:cNvPr id="7" name="Rounded Rectangle 10">
              <a:extLst>
                <a:ext uri="{FF2B5EF4-FFF2-40B4-BE49-F238E27FC236}">
                  <a16:creationId xmlns:a16="http://schemas.microsoft.com/office/drawing/2014/main" id="{49F28E85-53F7-4BC2-BB69-1A319F2ABDE4}"/>
                </a:ext>
              </a:extLst>
            </p:cNvPr>
            <p:cNvSpPr/>
            <p:nvPr/>
          </p:nvSpPr>
          <p:spPr>
            <a:xfrm>
              <a:off x="4437240" y="1815104"/>
              <a:ext cx="3240000" cy="580984"/>
            </a:xfrm>
            <a:prstGeom prst="roundRect">
              <a:avLst/>
            </a:prstGeom>
            <a:blipFill>
              <a:blip r:embed="rId2">
                <a:alphaModFix amt="90000"/>
                <a:duotone>
                  <a:schemeClr val="accent6">
                    <a:shade val="45000"/>
                    <a:satMod val="135000"/>
                  </a:schemeClr>
                  <a:prstClr val="white"/>
                </a:duotone>
              </a:blip>
              <a:stretch>
                <a:fillRect/>
              </a:stretch>
            </a:blip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800" b="1">
                  <a:latin typeface="Century Gothic"/>
                </a:rPr>
                <a:t>Actio PI 2</a:t>
              </a:r>
            </a:p>
          </p:txBody>
        </p:sp>
        <p:sp>
          <p:nvSpPr>
            <p:cNvPr id="8" name="Rounded Rectangle 13">
              <a:extLst>
                <a:ext uri="{FF2B5EF4-FFF2-40B4-BE49-F238E27FC236}">
                  <a16:creationId xmlns:a16="http://schemas.microsoft.com/office/drawing/2014/main" id="{13429C43-617B-4C77-AA9A-2A82447DE352}"/>
                </a:ext>
              </a:extLst>
            </p:cNvPr>
            <p:cNvSpPr/>
            <p:nvPr/>
          </p:nvSpPr>
          <p:spPr>
            <a:xfrm>
              <a:off x="8046116" y="1815104"/>
              <a:ext cx="3240000" cy="580984"/>
            </a:xfrm>
            <a:prstGeom prst="roundRect">
              <a:avLst/>
            </a:prstGeom>
            <a:blipFill>
              <a:blip r:embed="rId2">
                <a:alphaModFix amt="90000"/>
                <a:duotone>
                  <a:schemeClr val="accent6">
                    <a:shade val="45000"/>
                    <a:satMod val="135000"/>
                  </a:schemeClr>
                  <a:prstClr val="white"/>
                </a:duotone>
              </a:blip>
              <a:stretch>
                <a:fillRect/>
              </a:stretch>
            </a:blip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800" b="1">
                  <a:latin typeface="Century Gothic"/>
                </a:rPr>
                <a:t>Actio PI 3</a:t>
              </a:r>
            </a:p>
          </p:txBody>
        </p:sp>
        <p:sp>
          <p:nvSpPr>
            <p:cNvPr id="9" name="Content Placeholder 2">
              <a:extLst>
                <a:ext uri="{FF2B5EF4-FFF2-40B4-BE49-F238E27FC236}">
                  <a16:creationId xmlns:a16="http://schemas.microsoft.com/office/drawing/2014/main" id="{D4A3B890-DBBF-48A4-AC75-C0826D097668}"/>
                </a:ext>
              </a:extLst>
            </p:cNvPr>
            <p:cNvSpPr txBox="1">
              <a:spLocks/>
            </p:cNvSpPr>
            <p:nvPr/>
          </p:nvSpPr>
          <p:spPr>
            <a:xfrm>
              <a:off x="4437240" y="2499179"/>
              <a:ext cx="3240000" cy="4152673"/>
            </a:xfrm>
            <a:prstGeom prst="rect">
              <a:avLst/>
            </a:prstGeom>
            <a:noFill/>
          </p:spPr>
          <p:txBody>
            <a:bodyPr vert="horz" lIns="45714" tIns="90000" rIns="45714" bIns="90000" rtlCol="0">
              <a:noAutofit/>
            </a:bodyPr>
            <a:lst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lnSpc>
                  <a:spcPct val="150000"/>
                </a:lnSpc>
                <a:spcBef>
                  <a:spcPts val="600"/>
                </a:spcBef>
                <a:buClr>
                  <a:srgbClr val="FFA000"/>
                </a:buClr>
                <a:buNone/>
              </a:pPr>
              <a:r>
                <a:rPr lang="en-ZA" sz="1050">
                  <a:latin typeface="Century Gothic"/>
                  <a:sym typeface="Arial"/>
                </a:rPr>
                <a:t>The focus of this PI was to finalise the MVP solution component selection and architectural design.</a:t>
              </a:r>
            </a:p>
            <a:p>
              <a:pPr marL="0" indent="0">
                <a:lnSpc>
                  <a:spcPct val="150000"/>
                </a:lnSpc>
                <a:spcBef>
                  <a:spcPts val="600"/>
                </a:spcBef>
                <a:buClr>
                  <a:srgbClr val="FFA000"/>
                </a:buClr>
                <a:buNone/>
              </a:pPr>
              <a:r>
                <a:rPr lang="en-ZA" sz="1050">
                  <a:latin typeface="Century Gothic"/>
                  <a:sym typeface="Arial"/>
                </a:rPr>
                <a:t>Deliverables in this PI included:</a:t>
              </a:r>
            </a:p>
            <a:p>
              <a:pPr marL="263525" indent="-176213">
                <a:lnSpc>
                  <a:spcPct val="150000"/>
                </a:lnSpc>
                <a:spcBef>
                  <a:spcPts val="600"/>
                </a:spcBef>
                <a:buClr>
                  <a:schemeClr val="accent6">
                    <a:lumMod val="50000"/>
                  </a:schemeClr>
                </a:buClr>
              </a:pPr>
              <a:r>
                <a:rPr lang="en-ZA" sz="1050">
                  <a:latin typeface="Century Gothic"/>
                  <a:sym typeface="Arial"/>
                </a:rPr>
                <a:t>Implementation of </a:t>
              </a:r>
              <a:r>
                <a:rPr lang="en-ZA" sz="1050" err="1">
                  <a:latin typeface="Century Gothic"/>
                  <a:sym typeface="Arial"/>
                </a:rPr>
                <a:t>ArangoDB</a:t>
              </a:r>
              <a:r>
                <a:rPr lang="en-ZA" sz="1050">
                  <a:latin typeface="Century Gothic"/>
                  <a:sym typeface="Arial"/>
                </a:rPr>
                <a:t> for multi-modal DB support, including graph processing</a:t>
              </a:r>
            </a:p>
            <a:p>
              <a:pPr marL="263525" indent="-176213">
                <a:lnSpc>
                  <a:spcPct val="150000"/>
                </a:lnSpc>
                <a:spcBef>
                  <a:spcPts val="600"/>
                </a:spcBef>
                <a:buClr>
                  <a:schemeClr val="accent6">
                    <a:lumMod val="50000"/>
                  </a:schemeClr>
                </a:buClr>
              </a:pPr>
              <a:r>
                <a:rPr lang="en-ZA" sz="1050">
                  <a:latin typeface="Century Gothic"/>
                  <a:sym typeface="Arial"/>
                </a:rPr>
                <a:t>Implementation of a Mojaloop instance for testing and integration</a:t>
              </a:r>
            </a:p>
            <a:p>
              <a:pPr marL="263525" indent="-176213">
                <a:lnSpc>
                  <a:spcPct val="150000"/>
                </a:lnSpc>
                <a:spcBef>
                  <a:spcPts val="600"/>
                </a:spcBef>
                <a:buClr>
                  <a:schemeClr val="accent6">
                    <a:lumMod val="50000"/>
                  </a:schemeClr>
                </a:buClr>
              </a:pPr>
              <a:r>
                <a:rPr lang="en-ZA" sz="1050">
                  <a:latin typeface="Century Gothic"/>
                  <a:sym typeface="Arial"/>
                </a:rPr>
                <a:t>Implementation of a CI/CD pipeline</a:t>
              </a:r>
            </a:p>
            <a:p>
              <a:pPr marL="263525" indent="-176213">
                <a:lnSpc>
                  <a:spcPct val="150000"/>
                </a:lnSpc>
                <a:spcBef>
                  <a:spcPts val="600"/>
                </a:spcBef>
                <a:buClr>
                  <a:schemeClr val="accent6">
                    <a:lumMod val="50000"/>
                  </a:schemeClr>
                </a:buClr>
              </a:pPr>
              <a:r>
                <a:rPr lang="en-ZA" sz="1050">
                  <a:latin typeface="Century Gothic"/>
                  <a:sym typeface="Arial"/>
                </a:rPr>
                <a:t>Development of a Predicate Builder to facilitate typology development and scoring</a:t>
              </a:r>
            </a:p>
            <a:p>
              <a:pPr marL="263525" indent="-176213">
                <a:lnSpc>
                  <a:spcPct val="150000"/>
                </a:lnSpc>
                <a:spcBef>
                  <a:spcPts val="600"/>
                </a:spcBef>
                <a:buClr>
                  <a:schemeClr val="accent6">
                    <a:lumMod val="50000"/>
                  </a:schemeClr>
                </a:buClr>
              </a:pPr>
              <a:r>
                <a:rPr lang="en-ZA" sz="1050">
                  <a:latin typeface="Century Gothic"/>
                  <a:sym typeface="Arial"/>
                </a:rPr>
                <a:t>Construct an end-to-end flow utilising implemented components</a:t>
              </a:r>
            </a:p>
          </p:txBody>
        </p:sp>
        <p:sp>
          <p:nvSpPr>
            <p:cNvPr id="10" name="Content Placeholder 2">
              <a:extLst>
                <a:ext uri="{FF2B5EF4-FFF2-40B4-BE49-F238E27FC236}">
                  <a16:creationId xmlns:a16="http://schemas.microsoft.com/office/drawing/2014/main" id="{BBF9978E-D177-4FFD-906C-2871886B06D0}"/>
                </a:ext>
              </a:extLst>
            </p:cNvPr>
            <p:cNvSpPr txBox="1">
              <a:spLocks/>
            </p:cNvSpPr>
            <p:nvPr/>
          </p:nvSpPr>
          <p:spPr>
            <a:xfrm>
              <a:off x="834509" y="2499179"/>
              <a:ext cx="3233855" cy="4152673"/>
            </a:xfrm>
            <a:prstGeom prst="rect">
              <a:avLst/>
            </a:prstGeom>
            <a:noFill/>
          </p:spPr>
          <p:txBody>
            <a:bodyPr vert="horz" lIns="45714" tIns="90000" rIns="45714" bIns="90000" rtlCol="0">
              <a:noAutofit/>
            </a:bodyPr>
            <a:lst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lnSpc>
                  <a:spcPct val="150000"/>
                </a:lnSpc>
                <a:spcBef>
                  <a:spcPts val="600"/>
                </a:spcBef>
                <a:buClr>
                  <a:srgbClr val="FFA000"/>
                </a:buClr>
                <a:buNone/>
              </a:pPr>
              <a:r>
                <a:rPr lang="en-ZA" sz="1050">
                  <a:latin typeface="Century Gothic"/>
                </a:rPr>
                <a:t>The FCRMS workstream, through a partnership between Sybrin and LexTego, conducted a technology Proof of Concept to compose a fraud risk management solution exclusively out of Open Source Software (OSS) components and achieved:</a:t>
              </a:r>
            </a:p>
            <a:p>
              <a:pPr marL="263525" indent="-177800">
                <a:lnSpc>
                  <a:spcPct val="150000"/>
                </a:lnSpc>
                <a:spcBef>
                  <a:spcPts val="600"/>
                </a:spcBef>
                <a:buClr>
                  <a:schemeClr val="accent6">
                    <a:lumMod val="50000"/>
                  </a:schemeClr>
                </a:buClr>
              </a:pPr>
              <a:r>
                <a:rPr lang="en-ZA" sz="1050">
                  <a:latin typeface="Century Gothic"/>
                </a:rPr>
                <a:t>Peak through-put exceeding 8000TPS</a:t>
              </a:r>
            </a:p>
            <a:p>
              <a:pPr marL="263525" indent="-177800">
                <a:lnSpc>
                  <a:spcPct val="150000"/>
                </a:lnSpc>
                <a:spcBef>
                  <a:spcPts val="600"/>
                </a:spcBef>
                <a:buClr>
                  <a:schemeClr val="accent6">
                    <a:lumMod val="50000"/>
                  </a:schemeClr>
                </a:buClr>
              </a:pPr>
              <a:r>
                <a:rPr lang="en-ZA" sz="1050">
                  <a:latin typeface="Century Gothic"/>
                </a:rPr>
                <a:t>Turn-around time of less than 35ms</a:t>
              </a:r>
            </a:p>
            <a:p>
              <a:pPr marL="263525" indent="-177800">
                <a:lnSpc>
                  <a:spcPct val="150000"/>
                </a:lnSpc>
                <a:spcBef>
                  <a:spcPts val="600"/>
                </a:spcBef>
                <a:buClr>
                  <a:srgbClr val="FFA000"/>
                </a:buClr>
                <a:buNone/>
              </a:pPr>
              <a:r>
                <a:rPr lang="en-ZA" sz="1050">
                  <a:latin typeface="Century Gothic"/>
                  <a:sym typeface="Calibri"/>
                </a:rPr>
                <a:t>Utilising 5 sample typologies representing:</a:t>
              </a:r>
            </a:p>
            <a:p>
              <a:pPr marL="263525" indent="-177800">
                <a:lnSpc>
                  <a:spcPct val="150000"/>
                </a:lnSpc>
                <a:spcBef>
                  <a:spcPts val="600"/>
                </a:spcBef>
                <a:buClr>
                  <a:schemeClr val="accent6">
                    <a:lumMod val="50000"/>
                  </a:schemeClr>
                </a:buClr>
              </a:pPr>
              <a:r>
                <a:rPr lang="en-ZA" sz="1050">
                  <a:latin typeface="Century Gothic"/>
                  <a:sym typeface="Calibri"/>
                </a:rPr>
                <a:t>SIM Swap Fraud</a:t>
              </a:r>
            </a:p>
            <a:p>
              <a:pPr marL="263525" indent="-177800">
                <a:lnSpc>
                  <a:spcPct val="150000"/>
                </a:lnSpc>
                <a:spcBef>
                  <a:spcPts val="600"/>
                </a:spcBef>
                <a:buClr>
                  <a:schemeClr val="accent6">
                    <a:lumMod val="50000"/>
                  </a:schemeClr>
                </a:buClr>
              </a:pPr>
              <a:r>
                <a:rPr lang="en-ZA" sz="1050">
                  <a:latin typeface="Century Gothic"/>
                  <a:sym typeface="Calibri"/>
                </a:rPr>
                <a:t>Scams</a:t>
              </a:r>
            </a:p>
            <a:p>
              <a:pPr marL="263525" indent="-177800">
                <a:lnSpc>
                  <a:spcPct val="150000"/>
                </a:lnSpc>
                <a:spcBef>
                  <a:spcPts val="600"/>
                </a:spcBef>
                <a:buClr>
                  <a:schemeClr val="accent6">
                    <a:lumMod val="50000"/>
                  </a:schemeClr>
                </a:buClr>
              </a:pPr>
              <a:r>
                <a:rPr lang="en-ZA" sz="1050">
                  <a:latin typeface="Century Gothic"/>
                  <a:sym typeface="Calibri"/>
                </a:rPr>
                <a:t>Account </a:t>
              </a:r>
              <a:r>
                <a:rPr lang="en-ZA" sz="1050" err="1">
                  <a:latin typeface="Century Gothic"/>
                  <a:sym typeface="Calibri"/>
                </a:rPr>
                <a:t>Muling</a:t>
              </a:r>
              <a:endParaRPr lang="en-ZA" sz="1050">
                <a:latin typeface="Century Gothic"/>
                <a:sym typeface="Calibri"/>
              </a:endParaRPr>
            </a:p>
            <a:p>
              <a:pPr marL="263525" indent="-177800">
                <a:lnSpc>
                  <a:spcPct val="150000"/>
                </a:lnSpc>
                <a:spcBef>
                  <a:spcPts val="600"/>
                </a:spcBef>
                <a:buClr>
                  <a:schemeClr val="accent6">
                    <a:lumMod val="50000"/>
                  </a:schemeClr>
                </a:buClr>
              </a:pPr>
              <a:r>
                <a:rPr lang="en-ZA" sz="1050">
                  <a:latin typeface="Century Gothic"/>
                  <a:sym typeface="Calibri"/>
                </a:rPr>
                <a:t>Money-Laundering (Layering)</a:t>
              </a:r>
            </a:p>
            <a:p>
              <a:pPr marL="263525" indent="-177800">
                <a:lnSpc>
                  <a:spcPct val="150000"/>
                </a:lnSpc>
                <a:spcBef>
                  <a:spcPts val="600"/>
                </a:spcBef>
                <a:buClr>
                  <a:schemeClr val="accent6">
                    <a:lumMod val="50000"/>
                  </a:schemeClr>
                </a:buClr>
              </a:pPr>
              <a:r>
                <a:rPr lang="en-ZA" sz="1050">
                  <a:latin typeface="Century Gothic"/>
                  <a:sym typeface="Calibri"/>
                </a:rPr>
                <a:t>Block-list management and interdiction</a:t>
              </a:r>
              <a:endParaRPr lang="en-ZA" sz="1050">
                <a:latin typeface="Century Gothic"/>
              </a:endParaRPr>
            </a:p>
          </p:txBody>
        </p:sp>
        <p:sp>
          <p:nvSpPr>
            <p:cNvPr id="11" name="Content Placeholder 2">
              <a:extLst>
                <a:ext uri="{FF2B5EF4-FFF2-40B4-BE49-F238E27FC236}">
                  <a16:creationId xmlns:a16="http://schemas.microsoft.com/office/drawing/2014/main" id="{0EC7AFB5-1235-473F-8D61-1C6416D96724}"/>
                </a:ext>
              </a:extLst>
            </p:cNvPr>
            <p:cNvSpPr txBox="1">
              <a:spLocks/>
            </p:cNvSpPr>
            <p:nvPr/>
          </p:nvSpPr>
          <p:spPr>
            <a:xfrm>
              <a:off x="8046116" y="2499179"/>
              <a:ext cx="3240000" cy="4189544"/>
            </a:xfrm>
            <a:prstGeom prst="rect">
              <a:avLst/>
            </a:prstGeom>
            <a:noFill/>
          </p:spPr>
          <p:txBody>
            <a:bodyPr vert="horz" lIns="45714" tIns="90000" rIns="45714" bIns="90000" rtlCol="0">
              <a:noAutofit/>
            </a:bodyPr>
            <a:lst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lnSpc>
                  <a:spcPct val="150000"/>
                </a:lnSpc>
                <a:spcBef>
                  <a:spcPts val="600"/>
                </a:spcBef>
                <a:buClr>
                  <a:srgbClr val="FFA000"/>
                </a:buClr>
                <a:buNone/>
              </a:pPr>
              <a:r>
                <a:rPr lang="en-ZA" sz="1050" dirty="0">
                  <a:latin typeface="Century Gothic"/>
                </a:rPr>
                <a:t>The focus of this PI was to extend the platform with additional components and functionality, specifically:</a:t>
              </a:r>
            </a:p>
            <a:p>
              <a:pPr marL="263525" indent="-179388">
                <a:lnSpc>
                  <a:spcPct val="150000"/>
                </a:lnSpc>
                <a:spcBef>
                  <a:spcPts val="600"/>
                </a:spcBef>
                <a:buClr>
                  <a:schemeClr val="accent6">
                    <a:lumMod val="75000"/>
                  </a:schemeClr>
                </a:buClr>
              </a:pPr>
              <a:r>
                <a:rPr lang="en-ZA" sz="1050" dirty="0">
                  <a:latin typeface="Century Gothic"/>
                  <a:sym typeface="Calibri"/>
                </a:rPr>
                <a:t>The implementation of a Payment Platform Adapter to convert Mojaloop messages to ISO 20022-compliant messages</a:t>
              </a:r>
            </a:p>
            <a:p>
              <a:pPr marL="263525" indent="-179388">
                <a:lnSpc>
                  <a:spcPct val="150000"/>
                </a:lnSpc>
                <a:spcBef>
                  <a:spcPts val="600"/>
                </a:spcBef>
                <a:buClr>
                  <a:schemeClr val="accent6">
                    <a:lumMod val="75000"/>
                  </a:schemeClr>
                </a:buClr>
              </a:pPr>
              <a:r>
                <a:rPr lang="en-ZA" sz="1050" dirty="0">
                  <a:latin typeface="Century Gothic"/>
                  <a:sym typeface="Calibri"/>
                </a:rPr>
                <a:t>Implementation of ISO 20022-compliant data flows inside Actio</a:t>
              </a:r>
            </a:p>
            <a:p>
              <a:pPr marL="263525" indent="-179388">
                <a:lnSpc>
                  <a:spcPct val="150000"/>
                </a:lnSpc>
                <a:spcBef>
                  <a:spcPts val="600"/>
                </a:spcBef>
                <a:buClr>
                  <a:schemeClr val="accent6">
                    <a:lumMod val="75000"/>
                  </a:schemeClr>
                </a:buClr>
              </a:pPr>
              <a:r>
                <a:rPr lang="en-ZA" sz="1050" dirty="0">
                  <a:latin typeface="Century Gothic"/>
                  <a:sym typeface="Calibri"/>
                </a:rPr>
                <a:t>Data protection by design - Pseudonymisation of customer information in </a:t>
              </a:r>
              <a:r>
                <a:rPr lang="en-ZA" sz="1050" dirty="0" err="1">
                  <a:latin typeface="Century Gothic"/>
                  <a:sym typeface="Calibri"/>
                </a:rPr>
                <a:t>NiFi</a:t>
              </a:r>
              <a:endParaRPr lang="en-ZA" sz="1050" dirty="0">
                <a:latin typeface="Century Gothic"/>
                <a:sym typeface="Calibri"/>
              </a:endParaRPr>
            </a:p>
            <a:p>
              <a:pPr marL="263525" indent="-179388">
                <a:lnSpc>
                  <a:spcPct val="150000"/>
                </a:lnSpc>
                <a:spcBef>
                  <a:spcPts val="600"/>
                </a:spcBef>
                <a:buClr>
                  <a:schemeClr val="accent6">
                    <a:lumMod val="75000"/>
                  </a:schemeClr>
                </a:buClr>
              </a:pPr>
              <a:r>
                <a:rPr lang="en-ZA" sz="1050" dirty="0">
                  <a:latin typeface="Century Gothic"/>
                  <a:sym typeface="Calibri"/>
                </a:rPr>
                <a:t>Configuration-driven rule and typology processing</a:t>
              </a:r>
            </a:p>
            <a:p>
              <a:pPr marL="0" indent="0">
                <a:lnSpc>
                  <a:spcPct val="150000"/>
                </a:lnSpc>
                <a:spcBef>
                  <a:spcPts val="600"/>
                </a:spcBef>
                <a:buClr>
                  <a:srgbClr val="FFA000"/>
                </a:buClr>
                <a:buNone/>
              </a:pPr>
              <a:endParaRPr lang="en-ZA" sz="1050" dirty="0">
                <a:latin typeface="Century Gothic"/>
                <a:sym typeface="Calibri"/>
              </a:endParaRPr>
            </a:p>
          </p:txBody>
        </p:sp>
        <p:sp>
          <p:nvSpPr>
            <p:cNvPr id="12" name="Rounded Rectangle 9">
              <a:extLst>
                <a:ext uri="{FF2B5EF4-FFF2-40B4-BE49-F238E27FC236}">
                  <a16:creationId xmlns:a16="http://schemas.microsoft.com/office/drawing/2014/main" id="{C518959E-D96E-410C-BF83-DEE0822B8487}"/>
                </a:ext>
              </a:extLst>
            </p:cNvPr>
            <p:cNvSpPr/>
            <p:nvPr/>
          </p:nvSpPr>
          <p:spPr>
            <a:xfrm>
              <a:off x="828364" y="1185037"/>
              <a:ext cx="3240000" cy="576062"/>
            </a:xfrm>
            <a:prstGeom prst="roundRect">
              <a:avLst/>
            </a:prstGeom>
            <a:blipFill dpi="0" rotWithShape="1">
              <a:blip r:embed="rId2">
                <a:alphaModFix amt="90000"/>
                <a:duotone>
                  <a:schemeClr val="accent5">
                    <a:shade val="45000"/>
                    <a:satMod val="135000"/>
                  </a:schemeClr>
                  <a:prstClr val="white"/>
                </a:duotone>
              </a:blip>
              <a:srcRect/>
              <a:stretch>
                <a:fillRect/>
              </a:stretch>
            </a:blip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800" b="1" dirty="0">
                  <a:latin typeface="Century Gothic"/>
                </a:rPr>
                <a:t>Mojaloop PI 12</a:t>
              </a:r>
            </a:p>
          </p:txBody>
        </p:sp>
        <p:sp>
          <p:nvSpPr>
            <p:cNvPr id="13" name="Rounded Rectangle 9">
              <a:extLst>
                <a:ext uri="{FF2B5EF4-FFF2-40B4-BE49-F238E27FC236}">
                  <a16:creationId xmlns:a16="http://schemas.microsoft.com/office/drawing/2014/main" id="{C71D42B3-6768-4D62-A261-1B83F7FF5001}"/>
                </a:ext>
              </a:extLst>
            </p:cNvPr>
            <p:cNvSpPr/>
            <p:nvPr/>
          </p:nvSpPr>
          <p:spPr>
            <a:xfrm>
              <a:off x="4437240" y="1185037"/>
              <a:ext cx="3240000" cy="576062"/>
            </a:xfrm>
            <a:prstGeom prst="roundRect">
              <a:avLst/>
            </a:prstGeom>
            <a:blipFill dpi="0" rotWithShape="1">
              <a:blip r:embed="rId2">
                <a:alphaModFix amt="90000"/>
                <a:duotone>
                  <a:schemeClr val="accent5">
                    <a:shade val="45000"/>
                    <a:satMod val="135000"/>
                  </a:schemeClr>
                  <a:prstClr val="white"/>
                </a:duotone>
              </a:blip>
              <a:srcRect/>
              <a:stretch>
                <a:fillRect/>
              </a:stretch>
            </a:blip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800" b="1">
                  <a:latin typeface="Century Gothic"/>
                </a:rPr>
                <a:t>Mojaloop PI 13</a:t>
              </a:r>
            </a:p>
          </p:txBody>
        </p:sp>
        <p:sp>
          <p:nvSpPr>
            <p:cNvPr id="14" name="Rounded Rectangle 9">
              <a:extLst>
                <a:ext uri="{FF2B5EF4-FFF2-40B4-BE49-F238E27FC236}">
                  <a16:creationId xmlns:a16="http://schemas.microsoft.com/office/drawing/2014/main" id="{608B1862-1017-41E5-BC63-B12C6418E831}"/>
                </a:ext>
              </a:extLst>
            </p:cNvPr>
            <p:cNvSpPr/>
            <p:nvPr/>
          </p:nvSpPr>
          <p:spPr>
            <a:xfrm>
              <a:off x="8046116" y="1185037"/>
              <a:ext cx="3240000" cy="576062"/>
            </a:xfrm>
            <a:prstGeom prst="roundRect">
              <a:avLst/>
            </a:prstGeom>
            <a:blipFill dpi="0" rotWithShape="1">
              <a:blip r:embed="rId2">
                <a:alphaModFix amt="90000"/>
                <a:duotone>
                  <a:schemeClr val="accent5">
                    <a:shade val="45000"/>
                    <a:satMod val="135000"/>
                  </a:schemeClr>
                  <a:prstClr val="white"/>
                </a:duotone>
              </a:blip>
              <a:srcRect/>
              <a:stretch>
                <a:fillRect/>
              </a:stretch>
            </a:blip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800" b="1">
                  <a:latin typeface="Century Gothic"/>
                </a:rPr>
                <a:t>Mojaloop PI 14</a:t>
              </a:r>
            </a:p>
          </p:txBody>
        </p:sp>
        <p:sp>
          <p:nvSpPr>
            <p:cNvPr id="24" name="Rounded Rectangle 13">
              <a:extLst>
                <a:ext uri="{FF2B5EF4-FFF2-40B4-BE49-F238E27FC236}">
                  <a16:creationId xmlns:a16="http://schemas.microsoft.com/office/drawing/2014/main" id="{A4556D25-6874-438C-B658-8061A1A35A9B}"/>
                </a:ext>
              </a:extLst>
            </p:cNvPr>
            <p:cNvSpPr/>
            <p:nvPr/>
          </p:nvSpPr>
          <p:spPr>
            <a:xfrm>
              <a:off x="11654992" y="1815104"/>
              <a:ext cx="3240000" cy="580984"/>
            </a:xfrm>
            <a:prstGeom prst="roundRect">
              <a:avLst/>
            </a:prstGeom>
            <a:blipFill>
              <a:blip r:embed="rId2">
                <a:alphaModFix amt="90000"/>
                <a:duotone>
                  <a:schemeClr val="accent6">
                    <a:shade val="45000"/>
                    <a:satMod val="135000"/>
                  </a:schemeClr>
                  <a:prstClr val="white"/>
                </a:duotone>
              </a:blip>
              <a:stretch>
                <a:fillRect/>
              </a:stretch>
            </a:blip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800" b="1" dirty="0">
                  <a:latin typeface="Century Gothic"/>
                </a:rPr>
                <a:t>Actio PI 4</a:t>
              </a:r>
            </a:p>
          </p:txBody>
        </p:sp>
        <p:sp>
          <p:nvSpPr>
            <p:cNvPr id="25" name="Content Placeholder 2">
              <a:extLst>
                <a:ext uri="{FF2B5EF4-FFF2-40B4-BE49-F238E27FC236}">
                  <a16:creationId xmlns:a16="http://schemas.microsoft.com/office/drawing/2014/main" id="{C7247183-73B6-4E8F-BA66-515DBE577118}"/>
                </a:ext>
              </a:extLst>
            </p:cNvPr>
            <p:cNvSpPr txBox="1">
              <a:spLocks/>
            </p:cNvSpPr>
            <p:nvPr/>
          </p:nvSpPr>
          <p:spPr>
            <a:xfrm>
              <a:off x="11654992" y="2499179"/>
              <a:ext cx="3240000" cy="4189544"/>
            </a:xfrm>
            <a:prstGeom prst="rect">
              <a:avLst/>
            </a:prstGeom>
            <a:noFill/>
          </p:spPr>
          <p:txBody>
            <a:bodyPr vert="horz" lIns="45714" tIns="90000" rIns="45714" bIns="90000" rtlCol="0">
              <a:noAutofit/>
            </a:bodyPr>
            <a:lst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lnSpc>
                  <a:spcPct val="150000"/>
                </a:lnSpc>
                <a:spcBef>
                  <a:spcPts val="600"/>
                </a:spcBef>
                <a:buClr>
                  <a:srgbClr val="FFA000"/>
                </a:buClr>
                <a:buNone/>
              </a:pPr>
              <a:r>
                <a:rPr lang="en-ZA" sz="1050" dirty="0">
                  <a:latin typeface="Century Gothic"/>
                </a:rPr>
                <a:t>During this PI we focused on security hardening of the platform and optimisation of the ISO20022 messages.</a:t>
              </a:r>
            </a:p>
            <a:p>
              <a:pPr marL="263525" indent="-179388">
                <a:lnSpc>
                  <a:spcPct val="150000"/>
                </a:lnSpc>
                <a:spcBef>
                  <a:spcPts val="600"/>
                </a:spcBef>
                <a:buClr>
                  <a:schemeClr val="accent6">
                    <a:lumMod val="75000"/>
                  </a:schemeClr>
                </a:buClr>
              </a:pPr>
              <a:r>
                <a:rPr lang="en-ZA" sz="1050" dirty="0">
                  <a:latin typeface="Century Gothic"/>
                  <a:sym typeface="Calibri"/>
                </a:rPr>
                <a:t>Completed end-to-end flow</a:t>
              </a:r>
            </a:p>
            <a:p>
              <a:pPr marL="263525" indent="-179388">
                <a:lnSpc>
                  <a:spcPct val="150000"/>
                </a:lnSpc>
                <a:spcBef>
                  <a:spcPts val="600"/>
                </a:spcBef>
                <a:buClr>
                  <a:schemeClr val="accent6">
                    <a:lumMod val="75000"/>
                  </a:schemeClr>
                </a:buClr>
              </a:pPr>
              <a:r>
                <a:rPr lang="en-ZA" sz="1050" dirty="0">
                  <a:latin typeface="Century Gothic"/>
                  <a:sym typeface="Calibri"/>
                </a:rPr>
                <a:t>Addressed several pre-existing vulnerabilities that exposed Actio to a MOZI botnet infection</a:t>
              </a:r>
            </a:p>
            <a:p>
              <a:pPr marL="263525" indent="-179388">
                <a:lnSpc>
                  <a:spcPct val="150000"/>
                </a:lnSpc>
                <a:spcBef>
                  <a:spcPts val="600"/>
                </a:spcBef>
                <a:buClr>
                  <a:schemeClr val="accent6">
                    <a:lumMod val="75000"/>
                  </a:schemeClr>
                </a:buClr>
              </a:pPr>
              <a:r>
                <a:rPr lang="en-ZA" sz="1050" dirty="0">
                  <a:latin typeface="Century Gothic"/>
                  <a:sym typeface="Calibri"/>
                </a:rPr>
                <a:t>Standardised the translation of ISO20022 from XML to a compact JSON format</a:t>
              </a:r>
            </a:p>
            <a:p>
              <a:pPr marL="263525" indent="-179388">
                <a:lnSpc>
                  <a:spcPct val="150000"/>
                </a:lnSpc>
                <a:spcBef>
                  <a:spcPts val="600"/>
                </a:spcBef>
                <a:buClr>
                  <a:schemeClr val="accent6">
                    <a:lumMod val="75000"/>
                  </a:schemeClr>
                </a:buClr>
              </a:pPr>
              <a:r>
                <a:rPr lang="en-ZA" sz="1050" dirty="0">
                  <a:latin typeface="Century Gothic"/>
                  <a:sym typeface="Calibri"/>
                </a:rPr>
                <a:t>Replaced the </a:t>
              </a:r>
              <a:r>
                <a:rPr lang="en-ZA" sz="1050" dirty="0" err="1">
                  <a:latin typeface="Century Gothic"/>
                  <a:sym typeface="Calibri"/>
                </a:rPr>
                <a:t>gRPC</a:t>
              </a:r>
              <a:r>
                <a:rPr lang="en-ZA" sz="1050" dirty="0">
                  <a:latin typeface="Century Gothic"/>
                  <a:sym typeface="Calibri"/>
                </a:rPr>
                <a:t> inter-service communication protocol with HTTP in support of </a:t>
              </a:r>
              <a:r>
                <a:rPr lang="en-ZA" sz="1050" dirty="0" err="1">
                  <a:latin typeface="Century Gothic"/>
                  <a:sym typeface="Calibri"/>
                </a:rPr>
                <a:t>OpenFaaS</a:t>
              </a:r>
              <a:endParaRPr lang="en-ZA" sz="1050" dirty="0">
                <a:latin typeface="Century Gothic"/>
                <a:sym typeface="Calibri"/>
              </a:endParaRPr>
            </a:p>
            <a:p>
              <a:pPr marL="263525" indent="-179388">
                <a:lnSpc>
                  <a:spcPct val="150000"/>
                </a:lnSpc>
                <a:spcBef>
                  <a:spcPts val="600"/>
                </a:spcBef>
                <a:buClr>
                  <a:schemeClr val="accent6">
                    <a:lumMod val="75000"/>
                  </a:schemeClr>
                </a:buClr>
              </a:pPr>
              <a:r>
                <a:rPr lang="en-ZA" sz="1050" dirty="0">
                  <a:latin typeface="Century Gothic"/>
                  <a:sym typeface="Calibri"/>
                </a:rPr>
                <a:t>Enhanced automated testing to include exhaustive functional testing capability</a:t>
              </a:r>
            </a:p>
            <a:p>
              <a:pPr marL="0" indent="0">
                <a:lnSpc>
                  <a:spcPct val="150000"/>
                </a:lnSpc>
                <a:spcBef>
                  <a:spcPts val="600"/>
                </a:spcBef>
                <a:buClr>
                  <a:srgbClr val="FFA000"/>
                </a:buClr>
                <a:buNone/>
              </a:pPr>
              <a:endParaRPr lang="en-ZA" sz="1050" dirty="0">
                <a:latin typeface="Century Gothic"/>
                <a:sym typeface="Calibri"/>
              </a:endParaRPr>
            </a:p>
          </p:txBody>
        </p:sp>
        <p:sp>
          <p:nvSpPr>
            <p:cNvPr id="26" name="Rounded Rectangle 9">
              <a:extLst>
                <a:ext uri="{FF2B5EF4-FFF2-40B4-BE49-F238E27FC236}">
                  <a16:creationId xmlns:a16="http://schemas.microsoft.com/office/drawing/2014/main" id="{4C44D9DB-E8B8-4D73-B164-1B1FA4A7A06A}"/>
                </a:ext>
              </a:extLst>
            </p:cNvPr>
            <p:cNvSpPr/>
            <p:nvPr/>
          </p:nvSpPr>
          <p:spPr>
            <a:xfrm>
              <a:off x="11654992" y="1185037"/>
              <a:ext cx="3240000" cy="576062"/>
            </a:xfrm>
            <a:prstGeom prst="roundRect">
              <a:avLst/>
            </a:prstGeom>
            <a:blipFill dpi="0" rotWithShape="1">
              <a:blip r:embed="rId2">
                <a:alphaModFix amt="90000"/>
                <a:duotone>
                  <a:schemeClr val="accent5">
                    <a:shade val="45000"/>
                    <a:satMod val="135000"/>
                  </a:schemeClr>
                  <a:prstClr val="white"/>
                </a:duotone>
              </a:blip>
              <a:srcRect/>
              <a:stretch>
                <a:fillRect/>
              </a:stretch>
            </a:blip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800" b="1" dirty="0">
                  <a:latin typeface="Century Gothic"/>
                </a:rPr>
                <a:t>Mojaloop PI 15</a:t>
              </a:r>
            </a:p>
          </p:txBody>
        </p:sp>
        <p:sp>
          <p:nvSpPr>
            <p:cNvPr id="16" name="Rounded Rectangle 13">
              <a:extLst>
                <a:ext uri="{FF2B5EF4-FFF2-40B4-BE49-F238E27FC236}">
                  <a16:creationId xmlns:a16="http://schemas.microsoft.com/office/drawing/2014/main" id="{88A7AED0-E6F0-4475-985A-AB14A7C1BE89}"/>
                </a:ext>
              </a:extLst>
            </p:cNvPr>
            <p:cNvSpPr/>
            <p:nvPr/>
          </p:nvSpPr>
          <p:spPr>
            <a:xfrm>
              <a:off x="15263868" y="1815104"/>
              <a:ext cx="3240000" cy="580984"/>
            </a:xfrm>
            <a:prstGeom prst="roundRect">
              <a:avLst/>
            </a:prstGeom>
            <a:blipFill>
              <a:blip r:embed="rId2">
                <a:alphaModFix amt="90000"/>
                <a:duotone>
                  <a:schemeClr val="accent6">
                    <a:shade val="45000"/>
                    <a:satMod val="135000"/>
                  </a:schemeClr>
                  <a:prstClr val="white"/>
                </a:duotone>
              </a:blip>
              <a:stretch>
                <a:fillRect/>
              </a:stretch>
            </a:blip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800" b="1" dirty="0">
                  <a:latin typeface="Century Gothic"/>
                </a:rPr>
                <a:t>Actio PI 5</a:t>
              </a:r>
            </a:p>
          </p:txBody>
        </p:sp>
        <p:sp>
          <p:nvSpPr>
            <p:cNvPr id="17" name="Content Placeholder 2">
              <a:extLst>
                <a:ext uri="{FF2B5EF4-FFF2-40B4-BE49-F238E27FC236}">
                  <a16:creationId xmlns:a16="http://schemas.microsoft.com/office/drawing/2014/main" id="{DB934844-1DE3-4BD0-A3A0-5AB47618D772}"/>
                </a:ext>
              </a:extLst>
            </p:cNvPr>
            <p:cNvSpPr txBox="1">
              <a:spLocks/>
            </p:cNvSpPr>
            <p:nvPr/>
          </p:nvSpPr>
          <p:spPr>
            <a:xfrm>
              <a:off x="15263868" y="2499179"/>
              <a:ext cx="3240000" cy="4189544"/>
            </a:xfrm>
            <a:prstGeom prst="rect">
              <a:avLst/>
            </a:prstGeom>
            <a:noFill/>
          </p:spPr>
          <p:txBody>
            <a:bodyPr vert="horz" lIns="45714" tIns="90000" rIns="45714" bIns="90000" rtlCol="0">
              <a:noAutofit/>
            </a:bodyPr>
            <a:lst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lnSpc>
                  <a:spcPct val="150000"/>
                </a:lnSpc>
                <a:spcBef>
                  <a:spcPts val="600"/>
                </a:spcBef>
                <a:buClr>
                  <a:srgbClr val="FFA000"/>
                </a:buClr>
                <a:buNone/>
              </a:pPr>
              <a:r>
                <a:rPr lang="en-ZA" sz="1050" dirty="0">
                  <a:latin typeface="Century Gothic"/>
                </a:rPr>
                <a:t>Our focus for PI5 was to add the “content” for the platform, which involved the additional ISO messages as well as building rules and typologies.</a:t>
              </a:r>
            </a:p>
            <a:p>
              <a:pPr marL="263525" indent="-179388">
                <a:lnSpc>
                  <a:spcPct val="150000"/>
                </a:lnSpc>
                <a:spcBef>
                  <a:spcPts val="600"/>
                </a:spcBef>
                <a:buClr>
                  <a:schemeClr val="accent6">
                    <a:lumMod val="75000"/>
                  </a:schemeClr>
                </a:buClr>
              </a:pPr>
              <a:r>
                <a:rPr lang="en-ZA" sz="1050" dirty="0">
                  <a:latin typeface="Century Gothic"/>
                  <a:sym typeface="Calibri"/>
                </a:rPr>
                <a:t>End-to-End implementation of 4 ISO 20022 messages</a:t>
              </a:r>
            </a:p>
            <a:p>
              <a:pPr marL="263525" indent="-179388">
                <a:lnSpc>
                  <a:spcPct val="150000"/>
                </a:lnSpc>
                <a:spcBef>
                  <a:spcPts val="600"/>
                </a:spcBef>
                <a:buClr>
                  <a:schemeClr val="accent6">
                    <a:lumMod val="75000"/>
                  </a:schemeClr>
                </a:buClr>
              </a:pPr>
              <a:r>
                <a:rPr lang="en-ZA" sz="1050" dirty="0">
                  <a:latin typeface="Century Gothic"/>
                  <a:sym typeface="Calibri"/>
                </a:rPr>
                <a:t>Implementation of 2 typologies</a:t>
              </a:r>
            </a:p>
            <a:p>
              <a:pPr marL="263525" indent="-179388">
                <a:lnSpc>
                  <a:spcPct val="150000"/>
                </a:lnSpc>
                <a:spcBef>
                  <a:spcPts val="600"/>
                </a:spcBef>
                <a:buClr>
                  <a:schemeClr val="accent6">
                    <a:lumMod val="75000"/>
                  </a:schemeClr>
                </a:buClr>
              </a:pPr>
              <a:r>
                <a:rPr lang="en-ZA" sz="1050" dirty="0">
                  <a:latin typeface="Century Gothic"/>
                  <a:sym typeface="Calibri"/>
                </a:rPr>
                <a:t>Implementation of 9 rules</a:t>
              </a:r>
            </a:p>
            <a:p>
              <a:pPr marL="263525" indent="-179388">
                <a:lnSpc>
                  <a:spcPct val="150000"/>
                </a:lnSpc>
                <a:spcBef>
                  <a:spcPts val="600"/>
                </a:spcBef>
                <a:buClr>
                  <a:schemeClr val="accent6">
                    <a:lumMod val="75000"/>
                  </a:schemeClr>
                </a:buClr>
              </a:pPr>
              <a:r>
                <a:rPr lang="en-ZA" sz="1050" dirty="0">
                  <a:latin typeface="Century Gothic"/>
                  <a:sym typeface="Calibri"/>
                </a:rPr>
                <a:t>Closing of some gaps in the end-to-end flow</a:t>
              </a:r>
            </a:p>
            <a:p>
              <a:pPr marL="0" indent="0">
                <a:lnSpc>
                  <a:spcPct val="150000"/>
                </a:lnSpc>
                <a:spcBef>
                  <a:spcPts val="600"/>
                </a:spcBef>
                <a:buClr>
                  <a:srgbClr val="FFA000"/>
                </a:buClr>
                <a:buNone/>
              </a:pPr>
              <a:endParaRPr lang="en-ZA" sz="1050" dirty="0">
                <a:latin typeface="Century Gothic"/>
                <a:sym typeface="Calibri"/>
              </a:endParaRPr>
            </a:p>
          </p:txBody>
        </p:sp>
        <p:sp>
          <p:nvSpPr>
            <p:cNvPr id="18" name="Rounded Rectangle 9">
              <a:extLst>
                <a:ext uri="{FF2B5EF4-FFF2-40B4-BE49-F238E27FC236}">
                  <a16:creationId xmlns:a16="http://schemas.microsoft.com/office/drawing/2014/main" id="{13288020-028D-4E7F-BB84-E79FA1F9FA32}"/>
                </a:ext>
              </a:extLst>
            </p:cNvPr>
            <p:cNvSpPr/>
            <p:nvPr/>
          </p:nvSpPr>
          <p:spPr>
            <a:xfrm>
              <a:off x="15263868" y="1185037"/>
              <a:ext cx="3240000" cy="576062"/>
            </a:xfrm>
            <a:prstGeom prst="roundRect">
              <a:avLst/>
            </a:prstGeom>
            <a:blipFill dpi="0" rotWithShape="1">
              <a:blip r:embed="rId2">
                <a:alphaModFix amt="90000"/>
                <a:duotone>
                  <a:schemeClr val="accent5">
                    <a:shade val="45000"/>
                    <a:satMod val="135000"/>
                  </a:schemeClr>
                  <a:prstClr val="white"/>
                </a:duotone>
              </a:blip>
              <a:srcRect/>
              <a:stretch>
                <a:fillRect/>
              </a:stretch>
            </a:blip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800" b="1" dirty="0">
                  <a:latin typeface="Century Gothic"/>
                </a:rPr>
                <a:t>Mojaloop PI 16</a:t>
              </a:r>
            </a:p>
          </p:txBody>
        </p:sp>
        <p:sp>
          <p:nvSpPr>
            <p:cNvPr id="19" name="Rounded Rectangle 13">
              <a:extLst>
                <a:ext uri="{FF2B5EF4-FFF2-40B4-BE49-F238E27FC236}">
                  <a16:creationId xmlns:a16="http://schemas.microsoft.com/office/drawing/2014/main" id="{A363AEA6-8D36-4FE5-8A49-1B63C1919E92}"/>
                </a:ext>
              </a:extLst>
            </p:cNvPr>
            <p:cNvSpPr/>
            <p:nvPr/>
          </p:nvSpPr>
          <p:spPr>
            <a:xfrm>
              <a:off x="18872744" y="1815104"/>
              <a:ext cx="3240000" cy="580984"/>
            </a:xfrm>
            <a:prstGeom prst="roundRect">
              <a:avLst/>
            </a:prstGeom>
            <a:blipFill>
              <a:blip r:embed="rId2">
                <a:alphaModFix amt="90000"/>
                <a:duotone>
                  <a:schemeClr val="accent6">
                    <a:shade val="45000"/>
                    <a:satMod val="135000"/>
                  </a:schemeClr>
                  <a:prstClr val="white"/>
                </a:duotone>
              </a:blip>
              <a:stretch>
                <a:fillRect/>
              </a:stretch>
            </a:blip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800" b="1" dirty="0">
                  <a:latin typeface="Century Gothic"/>
                </a:rPr>
                <a:t>Actio PI 6</a:t>
              </a:r>
            </a:p>
          </p:txBody>
        </p:sp>
        <p:sp>
          <p:nvSpPr>
            <p:cNvPr id="20" name="Content Placeholder 2">
              <a:extLst>
                <a:ext uri="{FF2B5EF4-FFF2-40B4-BE49-F238E27FC236}">
                  <a16:creationId xmlns:a16="http://schemas.microsoft.com/office/drawing/2014/main" id="{A2076D8A-7D1A-450D-8D19-BE07EC582B84}"/>
                </a:ext>
              </a:extLst>
            </p:cNvPr>
            <p:cNvSpPr txBox="1">
              <a:spLocks/>
            </p:cNvSpPr>
            <p:nvPr/>
          </p:nvSpPr>
          <p:spPr>
            <a:xfrm>
              <a:off x="18872744" y="2499179"/>
              <a:ext cx="3240000" cy="4189544"/>
            </a:xfrm>
            <a:prstGeom prst="rect">
              <a:avLst/>
            </a:prstGeom>
            <a:noFill/>
          </p:spPr>
          <p:txBody>
            <a:bodyPr vert="horz" lIns="45714" tIns="90000" rIns="45714" bIns="90000" rtlCol="0">
              <a:noAutofit/>
            </a:bodyPr>
            <a:lst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lnSpc>
                  <a:spcPct val="150000"/>
                </a:lnSpc>
                <a:spcBef>
                  <a:spcPts val="600"/>
                </a:spcBef>
                <a:buClr>
                  <a:srgbClr val="FFA000"/>
                </a:buClr>
                <a:buNone/>
              </a:pPr>
              <a:r>
                <a:rPr lang="en-ZA" sz="1050" dirty="0">
                  <a:latin typeface="Century Gothic"/>
                </a:rPr>
                <a:t>Our focus for PI6 was to add the “content” for the platform, which involved completing the development of rules and typologies.</a:t>
              </a:r>
            </a:p>
            <a:p>
              <a:pPr marL="263525" indent="-179388">
                <a:lnSpc>
                  <a:spcPct val="150000"/>
                </a:lnSpc>
                <a:spcBef>
                  <a:spcPts val="600"/>
                </a:spcBef>
                <a:buClr>
                  <a:schemeClr val="accent6">
                    <a:lumMod val="75000"/>
                  </a:schemeClr>
                </a:buClr>
              </a:pPr>
              <a:r>
                <a:rPr lang="en-ZA" sz="1050" dirty="0">
                  <a:latin typeface="Century Gothic"/>
                  <a:sym typeface="Calibri"/>
                </a:rPr>
                <a:t>Implementation of 35 rules </a:t>
              </a:r>
            </a:p>
            <a:p>
              <a:pPr marL="263525" indent="-179388">
                <a:lnSpc>
                  <a:spcPct val="150000"/>
                </a:lnSpc>
                <a:spcBef>
                  <a:spcPts val="600"/>
                </a:spcBef>
                <a:buClr>
                  <a:schemeClr val="accent6">
                    <a:lumMod val="75000"/>
                  </a:schemeClr>
                </a:buClr>
              </a:pPr>
              <a:r>
                <a:rPr lang="en-ZA" sz="1050" dirty="0">
                  <a:latin typeface="Century Gothic"/>
                  <a:sym typeface="Calibri"/>
                </a:rPr>
                <a:t>Implementation of 31 typologies</a:t>
              </a:r>
            </a:p>
            <a:p>
              <a:pPr marL="263525" indent="-179388">
                <a:lnSpc>
                  <a:spcPct val="150000"/>
                </a:lnSpc>
                <a:spcBef>
                  <a:spcPts val="600"/>
                </a:spcBef>
                <a:buClr>
                  <a:schemeClr val="accent6">
                    <a:lumMod val="75000"/>
                  </a:schemeClr>
                </a:buClr>
              </a:pPr>
              <a:r>
                <a:rPr lang="en-ZA" sz="1050" dirty="0">
                  <a:latin typeface="Century Gothic"/>
                  <a:sym typeface="Calibri"/>
                </a:rPr>
                <a:t>Entity resolution</a:t>
              </a:r>
            </a:p>
            <a:p>
              <a:pPr marL="263525" indent="-179388">
                <a:lnSpc>
                  <a:spcPct val="150000"/>
                </a:lnSpc>
                <a:spcBef>
                  <a:spcPts val="600"/>
                </a:spcBef>
                <a:buClr>
                  <a:schemeClr val="accent6">
                    <a:lumMod val="75000"/>
                  </a:schemeClr>
                </a:buClr>
              </a:pPr>
              <a:r>
                <a:rPr lang="en-ZA" sz="1050" dirty="0">
                  <a:latin typeface="Century Gothic"/>
                  <a:sym typeface="Calibri"/>
                </a:rPr>
                <a:t>Performance tweaks</a:t>
              </a:r>
            </a:p>
            <a:p>
              <a:pPr marL="0" indent="0">
                <a:lnSpc>
                  <a:spcPct val="150000"/>
                </a:lnSpc>
                <a:spcBef>
                  <a:spcPts val="600"/>
                </a:spcBef>
                <a:buClr>
                  <a:srgbClr val="FFA000"/>
                </a:buClr>
                <a:buNone/>
              </a:pPr>
              <a:endParaRPr lang="en-ZA" sz="1050" dirty="0">
                <a:latin typeface="Century Gothic"/>
                <a:sym typeface="Calibri"/>
              </a:endParaRPr>
            </a:p>
          </p:txBody>
        </p:sp>
        <p:sp>
          <p:nvSpPr>
            <p:cNvPr id="21" name="Rounded Rectangle 9">
              <a:extLst>
                <a:ext uri="{FF2B5EF4-FFF2-40B4-BE49-F238E27FC236}">
                  <a16:creationId xmlns:a16="http://schemas.microsoft.com/office/drawing/2014/main" id="{B85F1172-2A04-43D4-9919-20E84DE8541C}"/>
                </a:ext>
              </a:extLst>
            </p:cNvPr>
            <p:cNvSpPr/>
            <p:nvPr/>
          </p:nvSpPr>
          <p:spPr>
            <a:xfrm>
              <a:off x="18872744" y="1185037"/>
              <a:ext cx="3240000" cy="576062"/>
            </a:xfrm>
            <a:prstGeom prst="roundRect">
              <a:avLst/>
            </a:prstGeom>
            <a:blipFill dpi="0" rotWithShape="1">
              <a:blip r:embed="rId2">
                <a:alphaModFix amt="90000"/>
                <a:duotone>
                  <a:schemeClr val="accent5">
                    <a:shade val="45000"/>
                    <a:satMod val="135000"/>
                  </a:schemeClr>
                  <a:prstClr val="white"/>
                </a:duotone>
              </a:blip>
              <a:srcRect/>
              <a:stretch>
                <a:fillRect/>
              </a:stretch>
            </a:blip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800" b="1" dirty="0">
                  <a:latin typeface="Century Gothic"/>
                </a:rPr>
                <a:t>Mojaloop PI 17</a:t>
              </a:r>
            </a:p>
          </p:txBody>
        </p:sp>
      </p:grpSp>
    </p:spTree>
    <p:extLst>
      <p:ext uri="{BB962C8B-B14F-4D97-AF65-F5344CB8AC3E}">
        <p14:creationId xmlns:p14="http://schemas.microsoft.com/office/powerpoint/2010/main" val="411480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79167E-6 -2.59259E-6 L -0.88907 -2.59259E-6 " pathEditMode="relative" rAng="0" ptsTypes="AA">
                                      <p:cBhvr>
                                        <p:cTn id="6" dur="2000" fill="hold"/>
                                        <p:tgtEl>
                                          <p:spTgt spid="2"/>
                                        </p:tgtEl>
                                        <p:attrNameLst>
                                          <p:attrName>ppt_x</p:attrName>
                                          <p:attrName>ppt_y</p:attrName>
                                        </p:attrNameLst>
                                      </p:cBhvr>
                                      <p:rCtr x="-444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29232A-04B2-43A9-856C-32001C4B45FC}"/>
              </a:ext>
            </a:extLst>
          </p:cNvPr>
          <p:cNvSpPr>
            <a:spLocks noGrp="1"/>
          </p:cNvSpPr>
          <p:nvPr>
            <p:ph type="title"/>
          </p:nvPr>
        </p:nvSpPr>
        <p:spPr/>
        <p:txBody>
          <a:bodyPr/>
          <a:lstStyle/>
          <a:p>
            <a:r>
              <a:rPr lang="en-ZA" b="1" dirty="0">
                <a:latin typeface="Century Gothic" panose="020B0502020202020204" pitchFamily="34" charset="0"/>
              </a:rPr>
              <a:t>Actio</a:t>
            </a:r>
          </a:p>
        </p:txBody>
      </p:sp>
      <p:sp>
        <p:nvSpPr>
          <p:cNvPr id="6" name="Content Placeholder 5">
            <a:extLst>
              <a:ext uri="{FF2B5EF4-FFF2-40B4-BE49-F238E27FC236}">
                <a16:creationId xmlns:a16="http://schemas.microsoft.com/office/drawing/2014/main" id="{0B485F50-2665-4C01-8321-813BF15861BB}"/>
              </a:ext>
            </a:extLst>
          </p:cNvPr>
          <p:cNvSpPr>
            <a:spLocks noGrp="1"/>
          </p:cNvSpPr>
          <p:nvPr>
            <p:ph idx="1"/>
          </p:nvPr>
        </p:nvSpPr>
        <p:spPr/>
        <p:txBody>
          <a:bodyPr>
            <a:normAutofit/>
          </a:bodyPr>
          <a:lstStyle/>
          <a:p>
            <a:pPr marL="0" indent="0">
              <a:buNone/>
            </a:pPr>
            <a:r>
              <a:rPr lang="en-GB" b="0" i="0" dirty="0">
                <a:solidFill>
                  <a:srgbClr val="172B4D"/>
                </a:solidFill>
                <a:effectLst/>
                <a:latin typeface="-apple-system"/>
              </a:rPr>
              <a:t>Actio is an Open Source real-time transaction monitoring platform that can ingest transaction messages in ISO20022 format and evaluate transactions for fraud and money-laundering behaviour using 35 pre-configured rules that support 31 pre-defined typologies.</a:t>
            </a:r>
            <a:endParaRPr lang="en-ZA" dirty="0">
              <a:solidFill>
                <a:srgbClr val="172B4D"/>
              </a:solidFill>
              <a:latin typeface="-apple-system"/>
            </a:endParaRPr>
          </a:p>
        </p:txBody>
      </p:sp>
    </p:spTree>
    <p:extLst>
      <p:ext uri="{BB962C8B-B14F-4D97-AF65-F5344CB8AC3E}">
        <p14:creationId xmlns:p14="http://schemas.microsoft.com/office/powerpoint/2010/main" val="28859872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29232A-04B2-43A9-856C-32001C4B45FC}"/>
              </a:ext>
            </a:extLst>
          </p:cNvPr>
          <p:cNvSpPr>
            <a:spLocks noGrp="1"/>
          </p:cNvSpPr>
          <p:nvPr>
            <p:ph type="title"/>
          </p:nvPr>
        </p:nvSpPr>
        <p:spPr/>
        <p:txBody>
          <a:bodyPr/>
          <a:lstStyle/>
          <a:p>
            <a:r>
              <a:rPr lang="en-ZA" b="1">
                <a:latin typeface="Century Gothic"/>
              </a:rPr>
              <a:t>Actio context</a:t>
            </a:r>
          </a:p>
        </p:txBody>
      </p:sp>
      <p:pic>
        <p:nvPicPr>
          <p:cNvPr id="52" name="Picture 51" descr="Graphical user interface&#10;&#10;Description automatically generated with medium confidence">
            <a:extLst>
              <a:ext uri="{FF2B5EF4-FFF2-40B4-BE49-F238E27FC236}">
                <a16:creationId xmlns:a16="http://schemas.microsoft.com/office/drawing/2014/main" id="{84F13131-10CF-429C-AE63-AA712C9DF375}"/>
              </a:ext>
            </a:extLst>
          </p:cNvPr>
          <p:cNvPicPr>
            <a:picLocks noChangeAspect="1"/>
          </p:cNvPicPr>
          <p:nvPr/>
        </p:nvPicPr>
        <p:blipFill>
          <a:blip r:embed="rId3"/>
          <a:stretch>
            <a:fillRect/>
          </a:stretch>
        </p:blipFill>
        <p:spPr>
          <a:xfrm>
            <a:off x="2351584" y="1268760"/>
            <a:ext cx="9401020" cy="5143090"/>
          </a:xfrm>
          <a:prstGeom prst="rect">
            <a:avLst/>
          </a:prstGeom>
        </p:spPr>
      </p:pic>
      <p:pic>
        <p:nvPicPr>
          <p:cNvPr id="4" name="Picture 3">
            <a:extLst>
              <a:ext uri="{FF2B5EF4-FFF2-40B4-BE49-F238E27FC236}">
                <a16:creationId xmlns:a16="http://schemas.microsoft.com/office/drawing/2014/main" id="{CDFA4173-90D2-4DFF-9AA1-DF77DB073185}"/>
              </a:ext>
            </a:extLst>
          </p:cNvPr>
          <p:cNvPicPr>
            <a:picLocks noChangeAspect="1"/>
          </p:cNvPicPr>
          <p:nvPr/>
        </p:nvPicPr>
        <p:blipFill>
          <a:blip r:embed="rId4"/>
          <a:stretch>
            <a:fillRect/>
          </a:stretch>
        </p:blipFill>
        <p:spPr>
          <a:xfrm>
            <a:off x="435656" y="1262472"/>
            <a:ext cx="1584176" cy="1591556"/>
          </a:xfrm>
          <a:prstGeom prst="rect">
            <a:avLst/>
          </a:prstGeom>
        </p:spPr>
      </p:pic>
      <p:sp>
        <p:nvSpPr>
          <p:cNvPr id="5" name="Content Placeholder 2">
            <a:extLst>
              <a:ext uri="{FF2B5EF4-FFF2-40B4-BE49-F238E27FC236}">
                <a16:creationId xmlns:a16="http://schemas.microsoft.com/office/drawing/2014/main" id="{B0D343D5-9744-4C7E-986B-00D23F68F104}"/>
              </a:ext>
            </a:extLst>
          </p:cNvPr>
          <p:cNvSpPr txBox="1">
            <a:spLocks/>
          </p:cNvSpPr>
          <p:nvPr/>
        </p:nvSpPr>
        <p:spPr>
          <a:xfrm>
            <a:off x="143143" y="2989859"/>
            <a:ext cx="2100429" cy="331129"/>
          </a:xfrm>
          <a:prstGeom prst="rect">
            <a:avLst/>
          </a:prstGeom>
          <a:noFill/>
          <a:ln>
            <a:solidFill>
              <a:schemeClr val="accent1"/>
            </a:solidFill>
          </a:ln>
        </p:spPr>
        <p:txBody>
          <a:bodyPr vert="horz" lIns="45714" tIns="22857" rIns="45714" bIns="22857" rtlCol="0" anchor="ctr">
            <a:normAutofit/>
          </a:bodyPr>
          <a:lst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lgn="ctr">
              <a:buNone/>
            </a:pPr>
            <a:r>
              <a:rPr lang="en-ZA" sz="1800" b="1">
                <a:latin typeface="Century Gothic" panose="020B0502020202020204" pitchFamily="34" charset="0"/>
              </a:rPr>
              <a:t>Semi-attached</a:t>
            </a:r>
          </a:p>
        </p:txBody>
      </p:sp>
      <p:sp>
        <p:nvSpPr>
          <p:cNvPr id="6" name="Content Placeholder 2">
            <a:extLst>
              <a:ext uri="{FF2B5EF4-FFF2-40B4-BE49-F238E27FC236}">
                <a16:creationId xmlns:a16="http://schemas.microsoft.com/office/drawing/2014/main" id="{AB9720DA-6404-4D3B-9819-4195C202AF21}"/>
              </a:ext>
            </a:extLst>
          </p:cNvPr>
          <p:cNvSpPr txBox="1">
            <a:spLocks/>
          </p:cNvSpPr>
          <p:nvPr/>
        </p:nvSpPr>
        <p:spPr>
          <a:xfrm>
            <a:off x="143143" y="3415660"/>
            <a:ext cx="2100429" cy="2355220"/>
          </a:xfrm>
          <a:prstGeom prst="rect">
            <a:avLst/>
          </a:prstGeom>
          <a:noFill/>
          <a:ln>
            <a:solidFill>
              <a:schemeClr val="accent1"/>
            </a:solidFill>
          </a:ln>
        </p:spPr>
        <p:txBody>
          <a:bodyPr vert="horz" lIns="72000" tIns="72000" rIns="72000" bIns="72000" rtlCol="0" anchor="t">
            <a:noAutofit/>
          </a:bodyPr>
          <a:lst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177800" indent="-177800">
              <a:lnSpc>
                <a:spcPct val="100000"/>
              </a:lnSpc>
            </a:pPr>
            <a:r>
              <a:rPr lang="en-ZA" sz="1050" dirty="0">
                <a:latin typeface="Century Gothic" panose="020B0502020202020204" pitchFamily="34" charset="0"/>
              </a:rPr>
              <a:t>Centralised financial crime risk detection service hosted by the switch Operator</a:t>
            </a:r>
          </a:p>
          <a:p>
            <a:pPr marL="177800" indent="-177800">
              <a:lnSpc>
                <a:spcPct val="100000"/>
              </a:lnSpc>
              <a:spcBef>
                <a:spcPts val="0"/>
              </a:spcBef>
            </a:pPr>
            <a:r>
              <a:rPr lang="en-ZA" sz="1050" dirty="0">
                <a:latin typeface="Century Gothic" panose="020B0502020202020204" pitchFamily="34" charset="0"/>
              </a:rPr>
              <a:t>Separate interface to receive transactions from switch participants and non-participants</a:t>
            </a:r>
          </a:p>
          <a:p>
            <a:pPr marL="177800" indent="-177800">
              <a:lnSpc>
                <a:spcPct val="100000"/>
              </a:lnSpc>
              <a:spcBef>
                <a:spcPts val="0"/>
              </a:spcBef>
            </a:pPr>
            <a:r>
              <a:rPr lang="en-ZA" sz="1050" dirty="0">
                <a:latin typeface="Century Gothic" panose="020B0502020202020204" pitchFamily="34" charset="0"/>
              </a:rPr>
              <a:t>The Operator performs detection on all transactions routed to the FRM service</a:t>
            </a:r>
          </a:p>
          <a:p>
            <a:pPr marL="177800" indent="-177800">
              <a:lnSpc>
                <a:spcPct val="100000"/>
              </a:lnSpc>
              <a:spcBef>
                <a:spcPts val="0"/>
              </a:spcBef>
            </a:pPr>
            <a:r>
              <a:rPr lang="en-ZA" sz="1050">
                <a:latin typeface="Century Gothic"/>
              </a:rPr>
              <a:t>Each DFSP would employ compliance teams</a:t>
            </a:r>
          </a:p>
        </p:txBody>
      </p:sp>
    </p:spTree>
    <p:extLst>
      <p:ext uri="{BB962C8B-B14F-4D97-AF65-F5344CB8AC3E}">
        <p14:creationId xmlns:p14="http://schemas.microsoft.com/office/powerpoint/2010/main" val="10142024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Arrow: Chevron 13">
            <a:extLst>
              <a:ext uri="{FF2B5EF4-FFF2-40B4-BE49-F238E27FC236}">
                <a16:creationId xmlns:a16="http://schemas.microsoft.com/office/drawing/2014/main" id="{E3ED653D-E393-4E96-A374-3200275BA10C}"/>
              </a:ext>
            </a:extLst>
          </p:cNvPr>
          <p:cNvSpPr/>
          <p:nvPr/>
        </p:nvSpPr>
        <p:spPr>
          <a:xfrm>
            <a:off x="10344150" y="3629025"/>
            <a:ext cx="1543050" cy="752475"/>
          </a:xfrm>
          <a:prstGeom prst="chevron">
            <a:avLst/>
          </a:prstGeom>
        </p:spPr>
        <p:style>
          <a:lnRef idx="2">
            <a:schemeClr val="accent6"/>
          </a:lnRef>
          <a:fillRef idx="1">
            <a:schemeClr val="lt1"/>
          </a:fillRef>
          <a:effectRef idx="0">
            <a:schemeClr val="accent6"/>
          </a:effectRef>
          <a:fontRef idx="minor">
            <a:schemeClr val="dk1"/>
          </a:fontRef>
        </p:style>
        <p:txBody>
          <a:bodyPr lIns="0" rIns="0" rtlCol="0" anchor="ctr"/>
          <a:lstStyle/>
          <a:p>
            <a:pPr algn="ctr"/>
            <a:r>
              <a:rPr lang="en-ZA"/>
              <a:t>CMS</a:t>
            </a:r>
          </a:p>
        </p:txBody>
      </p:sp>
      <p:sp>
        <p:nvSpPr>
          <p:cNvPr id="13" name="Arrow: Chevron 12">
            <a:extLst>
              <a:ext uri="{FF2B5EF4-FFF2-40B4-BE49-F238E27FC236}">
                <a16:creationId xmlns:a16="http://schemas.microsoft.com/office/drawing/2014/main" id="{CB634793-67AD-43AB-8147-355CFB81D810}"/>
              </a:ext>
            </a:extLst>
          </p:cNvPr>
          <p:cNvSpPr/>
          <p:nvPr/>
        </p:nvSpPr>
        <p:spPr>
          <a:xfrm>
            <a:off x="9127333" y="3629025"/>
            <a:ext cx="1543050" cy="752475"/>
          </a:xfrm>
          <a:prstGeom prst="chevron">
            <a:avLst/>
          </a:prstGeom>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algn="ctr"/>
            <a:r>
              <a:rPr lang="en-ZA"/>
              <a:t>TAD</a:t>
            </a:r>
          </a:p>
          <a:p>
            <a:pPr algn="ctr"/>
            <a:r>
              <a:rPr lang="en-ZA"/>
              <a:t>Proc</a:t>
            </a:r>
          </a:p>
        </p:txBody>
      </p:sp>
      <p:sp>
        <p:nvSpPr>
          <p:cNvPr id="12" name="Arrow: Chevron 11">
            <a:extLst>
              <a:ext uri="{FF2B5EF4-FFF2-40B4-BE49-F238E27FC236}">
                <a16:creationId xmlns:a16="http://schemas.microsoft.com/office/drawing/2014/main" id="{8245AD5F-8B36-49A7-8C83-6A6CA6BFA7C5}"/>
              </a:ext>
            </a:extLst>
          </p:cNvPr>
          <p:cNvSpPr/>
          <p:nvPr/>
        </p:nvSpPr>
        <p:spPr>
          <a:xfrm>
            <a:off x="7910514" y="3629025"/>
            <a:ext cx="1543050" cy="752475"/>
          </a:xfrm>
          <a:prstGeom prst="chevron">
            <a:avLst/>
          </a:prstGeom>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algn="ctr"/>
            <a:r>
              <a:rPr lang="en-ZA"/>
              <a:t>CAD</a:t>
            </a:r>
          </a:p>
          <a:p>
            <a:pPr algn="ctr"/>
            <a:r>
              <a:rPr lang="en-ZA"/>
              <a:t>Proc</a:t>
            </a:r>
          </a:p>
        </p:txBody>
      </p:sp>
      <p:sp>
        <p:nvSpPr>
          <p:cNvPr id="11" name="Arrow: Chevron 10">
            <a:extLst>
              <a:ext uri="{FF2B5EF4-FFF2-40B4-BE49-F238E27FC236}">
                <a16:creationId xmlns:a16="http://schemas.microsoft.com/office/drawing/2014/main" id="{B68AE282-A5D3-4586-9079-B0FB0E5AC090}"/>
              </a:ext>
            </a:extLst>
          </p:cNvPr>
          <p:cNvSpPr/>
          <p:nvPr/>
        </p:nvSpPr>
        <p:spPr>
          <a:xfrm>
            <a:off x="6693695" y="3629025"/>
            <a:ext cx="1543050" cy="752475"/>
          </a:xfrm>
          <a:prstGeom prst="chevron">
            <a:avLst/>
          </a:prstGeom>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algn="ctr"/>
            <a:r>
              <a:rPr lang="en-ZA"/>
              <a:t>TP</a:t>
            </a:r>
          </a:p>
        </p:txBody>
      </p:sp>
      <p:sp>
        <p:nvSpPr>
          <p:cNvPr id="10" name="Arrow: Chevron 9">
            <a:extLst>
              <a:ext uri="{FF2B5EF4-FFF2-40B4-BE49-F238E27FC236}">
                <a16:creationId xmlns:a16="http://schemas.microsoft.com/office/drawing/2014/main" id="{19A28508-7FDC-4473-B9E6-FA4AB680FF3E}"/>
              </a:ext>
            </a:extLst>
          </p:cNvPr>
          <p:cNvSpPr/>
          <p:nvPr/>
        </p:nvSpPr>
        <p:spPr>
          <a:xfrm>
            <a:off x="5476876" y="3629025"/>
            <a:ext cx="1543050" cy="752475"/>
          </a:xfrm>
          <a:prstGeom prst="chevron">
            <a:avLst/>
          </a:prstGeom>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algn="ctr"/>
            <a:r>
              <a:rPr lang="en-ZA"/>
              <a:t>RULES</a:t>
            </a:r>
          </a:p>
        </p:txBody>
      </p:sp>
      <p:sp>
        <p:nvSpPr>
          <p:cNvPr id="9" name="Arrow: Chevron 8">
            <a:extLst>
              <a:ext uri="{FF2B5EF4-FFF2-40B4-BE49-F238E27FC236}">
                <a16:creationId xmlns:a16="http://schemas.microsoft.com/office/drawing/2014/main" id="{9D11A4AF-A9D2-4F20-A33C-841DBA3C8E5E}"/>
              </a:ext>
            </a:extLst>
          </p:cNvPr>
          <p:cNvSpPr/>
          <p:nvPr/>
        </p:nvSpPr>
        <p:spPr>
          <a:xfrm>
            <a:off x="4260057" y="3629025"/>
            <a:ext cx="1543050" cy="752475"/>
          </a:xfrm>
          <a:prstGeom prst="chevron">
            <a:avLst/>
          </a:prstGeom>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algn="ctr"/>
            <a:r>
              <a:rPr lang="en-ZA"/>
              <a:t>CRSP</a:t>
            </a:r>
          </a:p>
        </p:txBody>
      </p:sp>
      <p:sp>
        <p:nvSpPr>
          <p:cNvPr id="8" name="Arrow: Chevron 7">
            <a:extLst>
              <a:ext uri="{FF2B5EF4-FFF2-40B4-BE49-F238E27FC236}">
                <a16:creationId xmlns:a16="http://schemas.microsoft.com/office/drawing/2014/main" id="{61EB959A-B5DD-4067-AE96-A616EB3BC860}"/>
              </a:ext>
            </a:extLst>
          </p:cNvPr>
          <p:cNvSpPr/>
          <p:nvPr/>
        </p:nvSpPr>
        <p:spPr>
          <a:xfrm>
            <a:off x="3043238" y="3629025"/>
            <a:ext cx="1543050" cy="752475"/>
          </a:xfrm>
          <a:prstGeom prst="chevron">
            <a:avLst/>
          </a:prstGeom>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algn="ctr"/>
            <a:r>
              <a:rPr lang="en-ZA"/>
              <a:t>Data</a:t>
            </a:r>
          </a:p>
          <a:p>
            <a:pPr algn="ctr"/>
            <a:r>
              <a:rPr lang="en-ZA"/>
              <a:t>Prep</a:t>
            </a:r>
          </a:p>
        </p:txBody>
      </p:sp>
      <p:sp>
        <p:nvSpPr>
          <p:cNvPr id="7" name="Arrow: Chevron 6">
            <a:extLst>
              <a:ext uri="{FF2B5EF4-FFF2-40B4-BE49-F238E27FC236}">
                <a16:creationId xmlns:a16="http://schemas.microsoft.com/office/drawing/2014/main" id="{51344C99-0BA9-4225-81F0-EC6C256F2C83}"/>
              </a:ext>
            </a:extLst>
          </p:cNvPr>
          <p:cNvSpPr/>
          <p:nvPr/>
        </p:nvSpPr>
        <p:spPr>
          <a:xfrm>
            <a:off x="1826419" y="3629025"/>
            <a:ext cx="1543050" cy="752475"/>
          </a:xfrm>
          <a:prstGeom prst="chevron">
            <a:avLst/>
          </a:prstGeom>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algn="ctr"/>
            <a:r>
              <a:rPr lang="en-ZA"/>
              <a:t>TMS</a:t>
            </a:r>
          </a:p>
          <a:p>
            <a:pPr algn="ctr"/>
            <a:r>
              <a:rPr lang="en-ZA"/>
              <a:t>API</a:t>
            </a:r>
          </a:p>
        </p:txBody>
      </p:sp>
      <p:sp>
        <p:nvSpPr>
          <p:cNvPr id="2" name="Title 1">
            <a:extLst>
              <a:ext uri="{FF2B5EF4-FFF2-40B4-BE49-F238E27FC236}">
                <a16:creationId xmlns:a16="http://schemas.microsoft.com/office/drawing/2014/main" id="{0E29232A-04B2-43A9-856C-32001C4B45FC}"/>
              </a:ext>
            </a:extLst>
          </p:cNvPr>
          <p:cNvSpPr>
            <a:spLocks noGrp="1"/>
          </p:cNvSpPr>
          <p:nvPr>
            <p:ph type="title"/>
          </p:nvPr>
        </p:nvSpPr>
        <p:spPr/>
        <p:txBody>
          <a:bodyPr/>
          <a:lstStyle/>
          <a:p>
            <a:r>
              <a:rPr lang="en-ZA" b="1" dirty="0">
                <a:latin typeface="Century Gothic" panose="020B0502020202020204" pitchFamily="34" charset="0"/>
              </a:rPr>
              <a:t>Actio Process Flow</a:t>
            </a:r>
          </a:p>
        </p:txBody>
      </p:sp>
      <p:sp>
        <p:nvSpPr>
          <p:cNvPr id="6" name="Arrow: Chevron 5">
            <a:extLst>
              <a:ext uri="{FF2B5EF4-FFF2-40B4-BE49-F238E27FC236}">
                <a16:creationId xmlns:a16="http://schemas.microsoft.com/office/drawing/2014/main" id="{6248441D-1488-452F-8B5B-3EBB96D5D497}"/>
              </a:ext>
            </a:extLst>
          </p:cNvPr>
          <p:cNvSpPr/>
          <p:nvPr/>
        </p:nvSpPr>
        <p:spPr>
          <a:xfrm>
            <a:off x="609600" y="3629025"/>
            <a:ext cx="1543050" cy="752475"/>
          </a:xfrm>
          <a:prstGeom prst="chevron">
            <a:avLst/>
          </a:prstGeom>
        </p:spPr>
        <p:style>
          <a:lnRef idx="2">
            <a:schemeClr val="accent6"/>
          </a:lnRef>
          <a:fillRef idx="1">
            <a:schemeClr val="lt1"/>
          </a:fillRef>
          <a:effectRef idx="0">
            <a:schemeClr val="accent6"/>
          </a:effectRef>
          <a:fontRef idx="minor">
            <a:schemeClr val="dk1"/>
          </a:fontRef>
        </p:style>
        <p:txBody>
          <a:bodyPr lIns="0" rIns="0" rtlCol="0" anchor="ctr"/>
          <a:lstStyle/>
          <a:p>
            <a:pPr algn="ctr"/>
            <a:r>
              <a:rPr lang="en-ZA"/>
              <a:t>PPA</a:t>
            </a:r>
          </a:p>
        </p:txBody>
      </p:sp>
      <p:sp>
        <p:nvSpPr>
          <p:cNvPr id="21" name="Rectangle 20">
            <a:extLst>
              <a:ext uri="{FF2B5EF4-FFF2-40B4-BE49-F238E27FC236}">
                <a16:creationId xmlns:a16="http://schemas.microsoft.com/office/drawing/2014/main" id="{DA576615-9A42-4C42-81F4-85559F9268BA}"/>
              </a:ext>
            </a:extLst>
          </p:cNvPr>
          <p:cNvSpPr/>
          <p:nvPr/>
        </p:nvSpPr>
        <p:spPr>
          <a:xfrm>
            <a:off x="21431" y="4979111"/>
            <a:ext cx="2390775" cy="752474"/>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72000" tIns="36000" rIns="0" bIns="36000" rtlCol="0" anchor="t"/>
          <a:lstStyle/>
          <a:p>
            <a:pPr marL="180975" indent="-180975">
              <a:buFont typeface="+mj-lt"/>
              <a:buAutoNum type="arabicPeriod"/>
            </a:pPr>
            <a:r>
              <a:rPr lang="en-ZA" sz="800">
                <a:solidFill>
                  <a:schemeClr val="tx1"/>
                </a:solidFill>
              </a:rPr>
              <a:t>Receive Mojaloop transaction message</a:t>
            </a:r>
          </a:p>
          <a:p>
            <a:pPr marL="180975" indent="-180975">
              <a:buFont typeface="+mj-lt"/>
              <a:buAutoNum type="arabicPeriod"/>
            </a:pPr>
            <a:r>
              <a:rPr lang="en-ZA" sz="800">
                <a:solidFill>
                  <a:schemeClr val="tx1"/>
                </a:solidFill>
              </a:rPr>
              <a:t>Transform Mojaloop message to ISO 20022</a:t>
            </a:r>
          </a:p>
          <a:p>
            <a:pPr marL="180975" indent="-180975">
              <a:buFont typeface="+mj-lt"/>
              <a:buAutoNum type="arabicPeriod"/>
            </a:pPr>
            <a:r>
              <a:rPr lang="en-ZA" sz="800" i="1">
                <a:solidFill>
                  <a:schemeClr val="tx1"/>
                </a:solidFill>
              </a:rPr>
              <a:t>Enrich later messages from earlier messages</a:t>
            </a:r>
          </a:p>
          <a:p>
            <a:pPr marL="180975" indent="-180975">
              <a:buFont typeface="+mj-lt"/>
              <a:buAutoNum type="arabicPeriod"/>
            </a:pPr>
            <a:r>
              <a:rPr lang="en-ZA" sz="800">
                <a:solidFill>
                  <a:schemeClr val="tx1"/>
                </a:solidFill>
              </a:rPr>
              <a:t>Submit transaction message to Actio TMS API</a:t>
            </a:r>
          </a:p>
        </p:txBody>
      </p:sp>
      <p:sp>
        <p:nvSpPr>
          <p:cNvPr id="36" name="Rectangle 35">
            <a:extLst>
              <a:ext uri="{FF2B5EF4-FFF2-40B4-BE49-F238E27FC236}">
                <a16:creationId xmlns:a16="http://schemas.microsoft.com/office/drawing/2014/main" id="{0B6DDADF-C7CA-41FC-83D4-722BEE6138C3}"/>
              </a:ext>
            </a:extLst>
          </p:cNvPr>
          <p:cNvSpPr/>
          <p:nvPr/>
        </p:nvSpPr>
        <p:spPr>
          <a:xfrm>
            <a:off x="1262019" y="1931277"/>
            <a:ext cx="2390775" cy="733425"/>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72000" tIns="36000" rIns="0" bIns="36000" rtlCol="0" anchor="t"/>
          <a:lstStyle/>
          <a:p>
            <a:pPr marL="180975" indent="-180975">
              <a:buFont typeface="+mj-lt"/>
              <a:buAutoNum type="arabicPeriod"/>
            </a:pPr>
            <a:r>
              <a:rPr lang="en-ZA" sz="800" dirty="0">
                <a:solidFill>
                  <a:schemeClr val="tx1"/>
                </a:solidFill>
              </a:rPr>
              <a:t>Receive ISO 20022 compliant transaction message</a:t>
            </a:r>
          </a:p>
          <a:p>
            <a:pPr marL="180975" indent="-180975">
              <a:buFont typeface="+mj-lt"/>
              <a:buAutoNum type="arabicPeriod"/>
            </a:pPr>
            <a:r>
              <a:rPr lang="en-ZA" sz="800" dirty="0">
                <a:solidFill>
                  <a:schemeClr val="tx1"/>
                </a:solidFill>
              </a:rPr>
              <a:t>Validate message contents</a:t>
            </a:r>
          </a:p>
          <a:p>
            <a:pPr marL="180975" indent="-180975">
              <a:buFont typeface="+mj-lt"/>
              <a:buAutoNum type="arabicPeriod"/>
            </a:pPr>
            <a:r>
              <a:rPr lang="en-ZA" sz="800" dirty="0">
                <a:solidFill>
                  <a:schemeClr val="tx1"/>
                </a:solidFill>
              </a:rPr>
              <a:t>Route message to </a:t>
            </a:r>
            <a:r>
              <a:rPr lang="en-ZA" sz="800" dirty="0" err="1">
                <a:solidFill>
                  <a:schemeClr val="tx1"/>
                </a:solidFill>
              </a:rPr>
              <a:t>NiFi</a:t>
            </a:r>
            <a:r>
              <a:rPr lang="en-ZA" sz="800" dirty="0">
                <a:solidFill>
                  <a:schemeClr val="tx1"/>
                </a:solidFill>
              </a:rPr>
              <a:t> for data preparation</a:t>
            </a:r>
          </a:p>
        </p:txBody>
      </p:sp>
      <p:cxnSp>
        <p:nvCxnSpPr>
          <p:cNvPr id="37" name="Straight Arrow Connector 36">
            <a:extLst>
              <a:ext uri="{FF2B5EF4-FFF2-40B4-BE49-F238E27FC236}">
                <a16:creationId xmlns:a16="http://schemas.microsoft.com/office/drawing/2014/main" id="{D5068A65-68B6-4247-BD31-E8471B057EB4}"/>
              </a:ext>
            </a:extLst>
          </p:cNvPr>
          <p:cNvCxnSpPr>
            <a:cxnSpLocks/>
          </p:cNvCxnSpPr>
          <p:nvPr/>
        </p:nvCxnSpPr>
        <p:spPr>
          <a:xfrm flipV="1">
            <a:off x="2457407" y="2674227"/>
            <a:ext cx="2382" cy="9643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DE8D1C30-3310-43C4-ABC6-8B5AFE19D108}"/>
              </a:ext>
            </a:extLst>
          </p:cNvPr>
          <p:cNvCxnSpPr>
            <a:cxnSpLocks/>
            <a:endCxn id="21" idx="0"/>
          </p:cNvCxnSpPr>
          <p:nvPr/>
        </p:nvCxnSpPr>
        <p:spPr>
          <a:xfrm>
            <a:off x="1216819" y="4381500"/>
            <a:ext cx="0" cy="5976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0398FF99-4C44-4739-A35D-503E78B1F62A}"/>
              </a:ext>
            </a:extLst>
          </p:cNvPr>
          <p:cNvCxnSpPr>
            <a:cxnSpLocks/>
          </p:cNvCxnSpPr>
          <p:nvPr/>
        </p:nvCxnSpPr>
        <p:spPr>
          <a:xfrm flipV="1">
            <a:off x="4938583" y="2674227"/>
            <a:ext cx="2382" cy="9643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E50D402D-6E0B-4D5C-9546-C849BF48FC6C}"/>
              </a:ext>
            </a:extLst>
          </p:cNvPr>
          <p:cNvCxnSpPr>
            <a:cxnSpLocks/>
            <a:endCxn id="45" idx="0"/>
          </p:cNvCxnSpPr>
          <p:nvPr/>
        </p:nvCxnSpPr>
        <p:spPr>
          <a:xfrm>
            <a:off x="3697995" y="4381500"/>
            <a:ext cx="0" cy="8098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B50EC99F-C40B-43EA-9072-5E671979DC43}"/>
              </a:ext>
            </a:extLst>
          </p:cNvPr>
          <p:cNvCxnSpPr>
            <a:cxnSpLocks/>
          </p:cNvCxnSpPr>
          <p:nvPr/>
        </p:nvCxnSpPr>
        <p:spPr>
          <a:xfrm flipV="1">
            <a:off x="7419759" y="2674227"/>
            <a:ext cx="2382" cy="9643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AEF77E66-B8F1-4BC3-831F-B8CA2A34520D}"/>
              </a:ext>
            </a:extLst>
          </p:cNvPr>
          <p:cNvCxnSpPr>
            <a:cxnSpLocks/>
          </p:cNvCxnSpPr>
          <p:nvPr/>
        </p:nvCxnSpPr>
        <p:spPr>
          <a:xfrm>
            <a:off x="6179171" y="4381500"/>
            <a:ext cx="2382" cy="9643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6E286202-0A5E-4065-9EFC-158B5A8ED4A7}"/>
              </a:ext>
            </a:extLst>
          </p:cNvPr>
          <p:cNvCxnSpPr>
            <a:cxnSpLocks/>
          </p:cNvCxnSpPr>
          <p:nvPr/>
        </p:nvCxnSpPr>
        <p:spPr>
          <a:xfrm flipV="1">
            <a:off x="9900937" y="2674227"/>
            <a:ext cx="2382" cy="9643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4E78AA3F-EB84-4F80-B85C-E5C47FDB0908}"/>
              </a:ext>
            </a:extLst>
          </p:cNvPr>
          <p:cNvCxnSpPr>
            <a:cxnSpLocks/>
          </p:cNvCxnSpPr>
          <p:nvPr/>
        </p:nvCxnSpPr>
        <p:spPr>
          <a:xfrm>
            <a:off x="8660347" y="4381500"/>
            <a:ext cx="2382" cy="9643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0465AA03-6999-48FB-BEE7-4A3231F3ECCF}"/>
              </a:ext>
            </a:extLst>
          </p:cNvPr>
          <p:cNvSpPr/>
          <p:nvPr/>
        </p:nvSpPr>
        <p:spPr>
          <a:xfrm>
            <a:off x="2502607" y="5191396"/>
            <a:ext cx="2390775" cy="1080377"/>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72000" tIns="36000" rIns="0" bIns="36000" rtlCol="0" anchor="t"/>
          <a:lstStyle/>
          <a:p>
            <a:pPr marL="180975" indent="-180975">
              <a:buFont typeface="+mj-lt"/>
              <a:buAutoNum type="arabicPeriod"/>
            </a:pPr>
            <a:r>
              <a:rPr lang="en-ZA" sz="800" i="1">
                <a:solidFill>
                  <a:schemeClr val="tx1"/>
                </a:solidFill>
              </a:rPr>
              <a:t>Resolve transaction participants into unique entities</a:t>
            </a:r>
          </a:p>
          <a:p>
            <a:pPr marL="180975" indent="-180975">
              <a:buFont typeface="+mj-lt"/>
              <a:buAutoNum type="arabicPeriod"/>
            </a:pPr>
            <a:r>
              <a:rPr lang="en-ZA" sz="800">
                <a:solidFill>
                  <a:schemeClr val="tx1"/>
                </a:solidFill>
              </a:rPr>
              <a:t>Pseudonymise personal identifying information</a:t>
            </a:r>
          </a:p>
          <a:p>
            <a:pPr marL="180975" indent="-180975">
              <a:buFont typeface="+mj-lt"/>
              <a:buAutoNum type="arabicPeriod"/>
            </a:pPr>
            <a:r>
              <a:rPr lang="en-ZA" sz="800">
                <a:solidFill>
                  <a:schemeClr val="tx1"/>
                </a:solidFill>
              </a:rPr>
              <a:t>Enrich transaction (optional)</a:t>
            </a:r>
          </a:p>
          <a:p>
            <a:pPr marL="180975" indent="-180975">
              <a:buFont typeface="+mj-lt"/>
              <a:buAutoNum type="arabicPeriod"/>
            </a:pPr>
            <a:r>
              <a:rPr lang="en-ZA" sz="800" i="1">
                <a:solidFill>
                  <a:schemeClr val="tx1"/>
                </a:solidFill>
              </a:rPr>
              <a:t>Write message history</a:t>
            </a:r>
          </a:p>
          <a:p>
            <a:pPr marL="180975" indent="-180975">
              <a:buFont typeface="+mj-lt"/>
              <a:buAutoNum type="arabicPeriod"/>
            </a:pPr>
            <a:r>
              <a:rPr lang="en-ZA" sz="800" i="1">
                <a:solidFill>
                  <a:schemeClr val="tx1"/>
                </a:solidFill>
              </a:rPr>
              <a:t>Update transaction network graph</a:t>
            </a:r>
          </a:p>
          <a:p>
            <a:pPr marL="180975" indent="-180975">
              <a:buFont typeface="+mj-lt"/>
              <a:buAutoNum type="arabicPeriod"/>
            </a:pPr>
            <a:r>
              <a:rPr lang="en-ZA" sz="800">
                <a:solidFill>
                  <a:schemeClr val="tx1"/>
                </a:solidFill>
              </a:rPr>
              <a:t>Route to Channel Router &amp; Setup Processor</a:t>
            </a:r>
          </a:p>
        </p:txBody>
      </p:sp>
      <p:sp>
        <p:nvSpPr>
          <p:cNvPr id="46" name="Rectangle 45">
            <a:extLst>
              <a:ext uri="{FF2B5EF4-FFF2-40B4-BE49-F238E27FC236}">
                <a16:creationId xmlns:a16="http://schemas.microsoft.com/office/drawing/2014/main" id="{553CA9E9-9BA0-4902-908A-07A98F29D220}"/>
              </a:ext>
            </a:extLst>
          </p:cNvPr>
          <p:cNvSpPr/>
          <p:nvPr/>
        </p:nvSpPr>
        <p:spPr>
          <a:xfrm>
            <a:off x="3743195" y="1847851"/>
            <a:ext cx="2390775" cy="816852"/>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72000" tIns="36000" rIns="0" bIns="36000" rtlCol="0" anchor="t"/>
          <a:lstStyle/>
          <a:p>
            <a:pPr marL="180975" indent="-180975">
              <a:buFont typeface="+mj-lt"/>
              <a:buAutoNum type="arabicPeriod"/>
            </a:pPr>
            <a:r>
              <a:rPr lang="en-ZA" sz="800">
                <a:solidFill>
                  <a:schemeClr val="tx1"/>
                </a:solidFill>
              </a:rPr>
              <a:t>Receive ISO 20022 compliant transaction message</a:t>
            </a:r>
          </a:p>
          <a:p>
            <a:pPr marL="180975" indent="-180975">
              <a:buFont typeface="+mj-lt"/>
              <a:buAutoNum type="arabicPeriod"/>
            </a:pPr>
            <a:r>
              <a:rPr lang="en-ZA" sz="800">
                <a:solidFill>
                  <a:schemeClr val="tx1"/>
                </a:solidFill>
              </a:rPr>
              <a:t>Determine appropriate typologies</a:t>
            </a:r>
          </a:p>
          <a:p>
            <a:pPr marL="180975" indent="-180975">
              <a:buFont typeface="+mj-lt"/>
              <a:buAutoNum type="arabicPeriod"/>
            </a:pPr>
            <a:r>
              <a:rPr lang="en-ZA" sz="800">
                <a:solidFill>
                  <a:schemeClr val="tx1"/>
                </a:solidFill>
              </a:rPr>
              <a:t>Determine associated rules</a:t>
            </a:r>
          </a:p>
          <a:p>
            <a:pPr marL="180975" indent="-180975">
              <a:buFont typeface="+mj-lt"/>
              <a:buAutoNum type="arabicPeriod"/>
            </a:pPr>
            <a:r>
              <a:rPr lang="en-ZA" sz="800">
                <a:solidFill>
                  <a:schemeClr val="tx1"/>
                </a:solidFill>
              </a:rPr>
              <a:t>Route transaction message to rule processors</a:t>
            </a:r>
          </a:p>
        </p:txBody>
      </p:sp>
      <p:sp>
        <p:nvSpPr>
          <p:cNvPr id="47" name="Rectangle 46">
            <a:extLst>
              <a:ext uri="{FF2B5EF4-FFF2-40B4-BE49-F238E27FC236}">
                <a16:creationId xmlns:a16="http://schemas.microsoft.com/office/drawing/2014/main" id="{717D587B-723D-4747-A39E-C447A5B16CAD}"/>
              </a:ext>
            </a:extLst>
          </p:cNvPr>
          <p:cNvSpPr/>
          <p:nvPr/>
        </p:nvSpPr>
        <p:spPr>
          <a:xfrm>
            <a:off x="4981400" y="5355348"/>
            <a:ext cx="2390775" cy="733425"/>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72000" tIns="36000" rIns="0" bIns="36000" rtlCol="0" anchor="t"/>
          <a:lstStyle/>
          <a:p>
            <a:pPr marL="180975" indent="-180975">
              <a:buFont typeface="+mj-lt"/>
              <a:buAutoNum type="arabicPeriod"/>
            </a:pPr>
            <a:r>
              <a:rPr lang="en-ZA" sz="800">
                <a:solidFill>
                  <a:schemeClr val="tx1"/>
                </a:solidFill>
              </a:rPr>
              <a:t>Receive ISO 20022 compliant transaction message</a:t>
            </a:r>
          </a:p>
          <a:p>
            <a:pPr marL="180975" indent="-180975">
              <a:buFont typeface="+mj-lt"/>
              <a:buAutoNum type="arabicPeriod"/>
            </a:pPr>
            <a:r>
              <a:rPr lang="en-ZA" sz="800">
                <a:solidFill>
                  <a:schemeClr val="tx1"/>
                </a:solidFill>
              </a:rPr>
              <a:t>Evaluate transaction according to rule code and configuration</a:t>
            </a:r>
          </a:p>
          <a:p>
            <a:pPr marL="180975" indent="-180975">
              <a:buFont typeface="+mj-lt"/>
              <a:buAutoNum type="arabicPeriod"/>
            </a:pPr>
            <a:r>
              <a:rPr lang="en-ZA" sz="800">
                <a:solidFill>
                  <a:schemeClr val="tx1"/>
                </a:solidFill>
              </a:rPr>
              <a:t>Post rule results to the typology processor</a:t>
            </a:r>
          </a:p>
        </p:txBody>
      </p:sp>
      <p:sp>
        <p:nvSpPr>
          <p:cNvPr id="48" name="Rectangle 47">
            <a:extLst>
              <a:ext uri="{FF2B5EF4-FFF2-40B4-BE49-F238E27FC236}">
                <a16:creationId xmlns:a16="http://schemas.microsoft.com/office/drawing/2014/main" id="{4DF25235-D36B-499C-A3C6-A582CAE01ACC}"/>
              </a:ext>
            </a:extLst>
          </p:cNvPr>
          <p:cNvSpPr/>
          <p:nvPr/>
        </p:nvSpPr>
        <p:spPr>
          <a:xfrm>
            <a:off x="6224371" y="1709904"/>
            <a:ext cx="2390775" cy="954799"/>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72000" tIns="36000" rIns="0" bIns="36000" rtlCol="0" anchor="t"/>
          <a:lstStyle/>
          <a:p>
            <a:pPr marL="180975" indent="-180975">
              <a:buFont typeface="+mj-lt"/>
              <a:buAutoNum type="arabicPeriod"/>
            </a:pPr>
            <a:r>
              <a:rPr lang="en-ZA" sz="800">
                <a:solidFill>
                  <a:schemeClr val="tx1"/>
                </a:solidFill>
              </a:rPr>
              <a:t>Aggregate rule results</a:t>
            </a:r>
          </a:p>
          <a:p>
            <a:pPr marL="180975" indent="-180975">
              <a:buFont typeface="+mj-lt"/>
              <a:buAutoNum type="arabicPeriod"/>
            </a:pPr>
            <a:r>
              <a:rPr lang="en-ZA" sz="800">
                <a:solidFill>
                  <a:schemeClr val="tx1"/>
                </a:solidFill>
              </a:rPr>
              <a:t>Calculate a typology score based on rule results and typology configuration</a:t>
            </a:r>
          </a:p>
          <a:p>
            <a:pPr marL="180975" indent="-180975">
              <a:buFont typeface="+mj-lt"/>
              <a:buAutoNum type="arabicPeriod"/>
            </a:pPr>
            <a:r>
              <a:rPr lang="en-ZA" sz="800" i="1">
                <a:solidFill>
                  <a:schemeClr val="tx1"/>
                </a:solidFill>
              </a:rPr>
              <a:t>Interdict transaction (optional)</a:t>
            </a:r>
          </a:p>
          <a:p>
            <a:pPr marL="180975" indent="-180975">
              <a:buFont typeface="+mj-lt"/>
              <a:buAutoNum type="arabicPeriod"/>
            </a:pPr>
            <a:r>
              <a:rPr lang="en-ZA" sz="800" i="1">
                <a:solidFill>
                  <a:schemeClr val="tx1"/>
                </a:solidFill>
              </a:rPr>
              <a:t>Create investigation alert</a:t>
            </a:r>
          </a:p>
          <a:p>
            <a:pPr marL="180975" indent="-180975">
              <a:buFont typeface="+mj-lt"/>
              <a:buAutoNum type="arabicPeriod"/>
            </a:pPr>
            <a:r>
              <a:rPr lang="en-ZA" sz="800">
                <a:solidFill>
                  <a:schemeClr val="tx1"/>
                </a:solidFill>
              </a:rPr>
              <a:t>Route typology result to the Channel Aggregation and Decisioning Processor</a:t>
            </a:r>
          </a:p>
        </p:txBody>
      </p:sp>
      <p:sp>
        <p:nvSpPr>
          <p:cNvPr id="49" name="Rectangle 48">
            <a:extLst>
              <a:ext uri="{FF2B5EF4-FFF2-40B4-BE49-F238E27FC236}">
                <a16:creationId xmlns:a16="http://schemas.microsoft.com/office/drawing/2014/main" id="{A499B5E0-386A-4835-8350-5822C48F66B3}"/>
              </a:ext>
            </a:extLst>
          </p:cNvPr>
          <p:cNvSpPr/>
          <p:nvPr/>
        </p:nvSpPr>
        <p:spPr>
          <a:xfrm>
            <a:off x="7486651" y="5355348"/>
            <a:ext cx="2390775" cy="607302"/>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72000" tIns="36000" rIns="0" bIns="36000" rtlCol="0" anchor="t"/>
          <a:lstStyle/>
          <a:p>
            <a:pPr marL="180975" indent="-180975">
              <a:buFont typeface="+mj-lt"/>
              <a:buAutoNum type="arabicPeriod"/>
            </a:pPr>
            <a:r>
              <a:rPr lang="en-ZA" sz="800" dirty="0">
                <a:solidFill>
                  <a:schemeClr val="tx1"/>
                </a:solidFill>
              </a:rPr>
              <a:t>Aggregate typology results</a:t>
            </a:r>
          </a:p>
          <a:p>
            <a:pPr marL="180975" indent="-180975">
              <a:buFont typeface="+mj-lt"/>
              <a:buAutoNum type="arabicPeriod"/>
            </a:pPr>
            <a:r>
              <a:rPr lang="en-ZA" sz="800" i="1" dirty="0">
                <a:solidFill>
                  <a:schemeClr val="tx1"/>
                </a:solidFill>
              </a:rPr>
              <a:t>Issue transaction release (optional)</a:t>
            </a:r>
          </a:p>
          <a:p>
            <a:pPr marL="180975" indent="-180975">
              <a:buFont typeface="+mj-lt"/>
              <a:buAutoNum type="arabicPeriod"/>
            </a:pPr>
            <a:r>
              <a:rPr lang="en-ZA" sz="800" dirty="0">
                <a:solidFill>
                  <a:schemeClr val="tx1"/>
                </a:solidFill>
              </a:rPr>
              <a:t>Route channel result to the Transaction Aggregation and Decisioning Processor</a:t>
            </a:r>
          </a:p>
        </p:txBody>
      </p:sp>
      <p:sp>
        <p:nvSpPr>
          <p:cNvPr id="50" name="Rectangle 49">
            <a:extLst>
              <a:ext uri="{FF2B5EF4-FFF2-40B4-BE49-F238E27FC236}">
                <a16:creationId xmlns:a16="http://schemas.microsoft.com/office/drawing/2014/main" id="{63EA7B9C-DD3B-47CD-8CD9-0D22FF6EC238}"/>
              </a:ext>
            </a:extLst>
          </p:cNvPr>
          <p:cNvSpPr/>
          <p:nvPr/>
        </p:nvSpPr>
        <p:spPr>
          <a:xfrm>
            <a:off x="8703470" y="2203450"/>
            <a:ext cx="2390775" cy="461253"/>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72000" tIns="36000" rIns="0" bIns="36000" rtlCol="0" anchor="t"/>
          <a:lstStyle/>
          <a:p>
            <a:pPr marL="180975" indent="-180975">
              <a:buFont typeface="+mj-lt"/>
              <a:buAutoNum type="arabicPeriod"/>
            </a:pPr>
            <a:r>
              <a:rPr lang="en-ZA" sz="800" dirty="0">
                <a:solidFill>
                  <a:schemeClr val="tx1"/>
                </a:solidFill>
              </a:rPr>
              <a:t>Aggregate channel results</a:t>
            </a:r>
            <a:endParaRPr lang="en-ZA" sz="800" i="1" dirty="0">
              <a:solidFill>
                <a:schemeClr val="tx1"/>
              </a:solidFill>
            </a:endParaRPr>
          </a:p>
          <a:p>
            <a:pPr marL="180975" indent="-180975">
              <a:buFont typeface="+mj-lt"/>
              <a:buAutoNum type="arabicPeriod"/>
            </a:pPr>
            <a:r>
              <a:rPr lang="en-ZA" sz="800" i="1" dirty="0">
                <a:solidFill>
                  <a:schemeClr val="tx1"/>
                </a:solidFill>
              </a:rPr>
              <a:t>Create investigation alert</a:t>
            </a:r>
          </a:p>
          <a:p>
            <a:pPr marL="180975" indent="-180975">
              <a:buFont typeface="+mj-lt"/>
              <a:buAutoNum type="arabicPeriod"/>
            </a:pPr>
            <a:r>
              <a:rPr lang="en-ZA" sz="800" i="1" dirty="0">
                <a:solidFill>
                  <a:schemeClr val="tx1"/>
                </a:solidFill>
              </a:rPr>
              <a:t>Write transaction results</a:t>
            </a:r>
          </a:p>
        </p:txBody>
      </p:sp>
      <p:cxnSp>
        <p:nvCxnSpPr>
          <p:cNvPr id="51" name="Straight Arrow Connector 50">
            <a:extLst>
              <a:ext uri="{FF2B5EF4-FFF2-40B4-BE49-F238E27FC236}">
                <a16:creationId xmlns:a16="http://schemas.microsoft.com/office/drawing/2014/main" id="{D2E8AAA4-83A1-48AB-8F3D-307B72A9B624}"/>
              </a:ext>
            </a:extLst>
          </p:cNvPr>
          <p:cNvCxnSpPr>
            <a:cxnSpLocks/>
          </p:cNvCxnSpPr>
          <p:nvPr/>
        </p:nvCxnSpPr>
        <p:spPr>
          <a:xfrm>
            <a:off x="11141523" y="4381500"/>
            <a:ext cx="2382" cy="9643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8938F096-4C39-4722-BBC0-90CF728B8889}"/>
              </a:ext>
            </a:extLst>
          </p:cNvPr>
          <p:cNvSpPr/>
          <p:nvPr/>
        </p:nvSpPr>
        <p:spPr>
          <a:xfrm>
            <a:off x="9991902" y="5355348"/>
            <a:ext cx="2116753" cy="486652"/>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72000" tIns="36000" rIns="0" bIns="36000" rtlCol="0" anchor="t"/>
          <a:lstStyle/>
          <a:p>
            <a:pPr marL="180975" indent="-180975">
              <a:buFont typeface="+mj-lt"/>
              <a:buAutoNum type="arabicPeriod"/>
            </a:pPr>
            <a:r>
              <a:rPr lang="en-ZA" sz="800">
                <a:solidFill>
                  <a:schemeClr val="tx1"/>
                </a:solidFill>
              </a:rPr>
              <a:t>Investigate transaction monitoring service alert</a:t>
            </a:r>
          </a:p>
          <a:p>
            <a:pPr marL="180975" indent="-180975">
              <a:buFont typeface="+mj-lt"/>
              <a:buAutoNum type="arabicPeriod"/>
            </a:pPr>
            <a:r>
              <a:rPr lang="en-ZA" sz="800">
                <a:solidFill>
                  <a:schemeClr val="tx1"/>
                </a:solidFill>
              </a:rPr>
              <a:t>Update transaction results</a:t>
            </a:r>
          </a:p>
        </p:txBody>
      </p:sp>
    </p:spTree>
    <p:extLst>
      <p:ext uri="{BB962C8B-B14F-4D97-AF65-F5344CB8AC3E}">
        <p14:creationId xmlns:p14="http://schemas.microsoft.com/office/powerpoint/2010/main" val="11328160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29232A-04B2-43A9-856C-32001C4B45FC}"/>
              </a:ext>
            </a:extLst>
          </p:cNvPr>
          <p:cNvSpPr>
            <a:spLocks noGrp="1"/>
          </p:cNvSpPr>
          <p:nvPr>
            <p:ph type="title"/>
          </p:nvPr>
        </p:nvSpPr>
        <p:spPr/>
        <p:txBody>
          <a:bodyPr/>
          <a:lstStyle/>
          <a:p>
            <a:r>
              <a:rPr lang="en-ZA" b="1" dirty="0">
                <a:latin typeface="Century Gothic" panose="020B0502020202020204" pitchFamily="34" charset="0"/>
              </a:rPr>
              <a:t>PI 6 Delivery</a:t>
            </a:r>
          </a:p>
        </p:txBody>
      </p:sp>
      <p:sp>
        <p:nvSpPr>
          <p:cNvPr id="6" name="Content Placeholder 5">
            <a:extLst>
              <a:ext uri="{FF2B5EF4-FFF2-40B4-BE49-F238E27FC236}">
                <a16:creationId xmlns:a16="http://schemas.microsoft.com/office/drawing/2014/main" id="{0B485F50-2665-4C01-8321-813BF15861BB}"/>
              </a:ext>
            </a:extLst>
          </p:cNvPr>
          <p:cNvSpPr>
            <a:spLocks noGrp="1"/>
          </p:cNvSpPr>
          <p:nvPr>
            <p:ph idx="1"/>
          </p:nvPr>
        </p:nvSpPr>
        <p:spPr/>
        <p:txBody>
          <a:bodyPr>
            <a:normAutofit/>
          </a:bodyPr>
          <a:lstStyle/>
          <a:p>
            <a:r>
              <a:rPr lang="en-GB" b="0" i="0" dirty="0">
                <a:solidFill>
                  <a:srgbClr val="172B4D"/>
                </a:solidFill>
                <a:effectLst/>
                <a:latin typeface="-apple-system"/>
              </a:rPr>
              <a:t>Typologies (2 existing + </a:t>
            </a:r>
            <a:r>
              <a:rPr lang="en-GB" b="1" i="0" dirty="0">
                <a:solidFill>
                  <a:srgbClr val="172B4D"/>
                </a:solidFill>
                <a:effectLst/>
                <a:latin typeface="-apple-system"/>
              </a:rPr>
              <a:t>29 new</a:t>
            </a:r>
            <a:r>
              <a:rPr lang="en-GB" b="0" i="0" dirty="0">
                <a:solidFill>
                  <a:srgbClr val="172B4D"/>
                </a:solidFill>
                <a:effectLst/>
                <a:latin typeface="-apple-system"/>
              </a:rPr>
              <a:t>)</a:t>
            </a:r>
          </a:p>
          <a:p>
            <a:r>
              <a:rPr lang="en-GB" b="0" i="0" dirty="0">
                <a:solidFill>
                  <a:srgbClr val="172B4D"/>
                </a:solidFill>
                <a:effectLst/>
                <a:latin typeface="-apple-system"/>
              </a:rPr>
              <a:t>Rules (9 existing + </a:t>
            </a:r>
            <a:r>
              <a:rPr lang="en-GB" b="1" i="0" dirty="0">
                <a:solidFill>
                  <a:srgbClr val="172B4D"/>
                </a:solidFill>
                <a:effectLst/>
                <a:latin typeface="-apple-system"/>
              </a:rPr>
              <a:t>26 new</a:t>
            </a:r>
            <a:r>
              <a:rPr lang="en-GB" b="0" i="0" dirty="0">
                <a:solidFill>
                  <a:srgbClr val="172B4D"/>
                </a:solidFill>
                <a:effectLst/>
                <a:latin typeface="-apple-system"/>
              </a:rPr>
              <a:t>)</a:t>
            </a:r>
          </a:p>
          <a:p>
            <a:r>
              <a:rPr lang="en-GB" b="1" dirty="0">
                <a:solidFill>
                  <a:srgbClr val="172B4D"/>
                </a:solidFill>
                <a:latin typeface="-apple-system"/>
              </a:rPr>
              <a:t>Entity resolution</a:t>
            </a:r>
            <a:endParaRPr lang="en-GB" b="1" i="0" dirty="0">
              <a:solidFill>
                <a:srgbClr val="172B4D"/>
              </a:solidFill>
              <a:effectLst/>
              <a:latin typeface="-apple-system"/>
            </a:endParaRPr>
          </a:p>
          <a:p>
            <a:r>
              <a:rPr lang="en-GB" b="1" dirty="0">
                <a:solidFill>
                  <a:srgbClr val="172B4D"/>
                </a:solidFill>
                <a:latin typeface="-apple-system"/>
              </a:rPr>
              <a:t>Data model extension</a:t>
            </a:r>
            <a:endParaRPr lang="en-GB" b="1" i="0" dirty="0">
              <a:solidFill>
                <a:srgbClr val="172B4D"/>
              </a:solidFill>
              <a:effectLst/>
              <a:latin typeface="-apple-system"/>
            </a:endParaRPr>
          </a:p>
          <a:p>
            <a:r>
              <a:rPr lang="en-GB" dirty="0">
                <a:solidFill>
                  <a:srgbClr val="172B4D"/>
                </a:solidFill>
                <a:latin typeface="-apple-system"/>
              </a:rPr>
              <a:t>Performance improvements</a:t>
            </a:r>
          </a:p>
          <a:p>
            <a:r>
              <a:rPr lang="en-GB" b="0" i="0" dirty="0" err="1">
                <a:solidFill>
                  <a:srgbClr val="172B4D"/>
                </a:solidFill>
                <a:effectLst/>
                <a:latin typeface="-apple-system"/>
              </a:rPr>
              <a:t>Whitesource</a:t>
            </a:r>
            <a:r>
              <a:rPr lang="en-GB" b="0" i="0" dirty="0">
                <a:solidFill>
                  <a:srgbClr val="172B4D"/>
                </a:solidFill>
                <a:effectLst/>
                <a:latin typeface="-apple-system"/>
              </a:rPr>
              <a:t> scanning</a:t>
            </a:r>
          </a:p>
          <a:p>
            <a:r>
              <a:rPr lang="en-GB" dirty="0">
                <a:solidFill>
                  <a:srgbClr val="172B4D"/>
                </a:solidFill>
                <a:latin typeface="-apple-system"/>
              </a:rPr>
              <a:t>Deployment automation</a:t>
            </a:r>
            <a:endParaRPr lang="en-GB" b="0" i="0" dirty="0">
              <a:solidFill>
                <a:srgbClr val="172B4D"/>
              </a:solidFill>
              <a:effectLst/>
              <a:latin typeface="-apple-system"/>
            </a:endParaRPr>
          </a:p>
          <a:p>
            <a:endParaRPr lang="en-GB" b="0" i="0" dirty="0">
              <a:solidFill>
                <a:srgbClr val="172B4D"/>
              </a:solidFill>
              <a:effectLst/>
              <a:latin typeface="-apple-system"/>
            </a:endParaRPr>
          </a:p>
          <a:p>
            <a:endParaRPr lang="en-ZA" dirty="0"/>
          </a:p>
        </p:txBody>
      </p:sp>
    </p:spTree>
    <p:extLst>
      <p:ext uri="{BB962C8B-B14F-4D97-AF65-F5344CB8AC3E}">
        <p14:creationId xmlns:p14="http://schemas.microsoft.com/office/powerpoint/2010/main" val="29702702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FBEAD6A6-4C95-4C9D-BC6C-8C2BD0D90C86}"/>
              </a:ext>
            </a:extLst>
          </p:cNvPr>
          <p:cNvGraphicFramePr/>
          <p:nvPr>
            <p:extLst>
              <p:ext uri="{D42A27DB-BD31-4B8C-83A1-F6EECF244321}">
                <p14:modId xmlns:p14="http://schemas.microsoft.com/office/powerpoint/2010/main" val="768306670"/>
              </p:ext>
            </p:extLst>
          </p:nvPr>
        </p:nvGraphicFramePr>
        <p:xfrm>
          <a:off x="1351342" y="1172472"/>
          <a:ext cx="4064000" cy="29066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77" name="Group 76">
            <a:extLst>
              <a:ext uri="{FF2B5EF4-FFF2-40B4-BE49-F238E27FC236}">
                <a16:creationId xmlns:a16="http://schemas.microsoft.com/office/drawing/2014/main" id="{130F5613-B341-4D9B-BAE0-76CF8DF97E88}"/>
              </a:ext>
            </a:extLst>
          </p:cNvPr>
          <p:cNvGrpSpPr/>
          <p:nvPr/>
        </p:nvGrpSpPr>
        <p:grpSpPr>
          <a:xfrm>
            <a:off x="2547140" y="3203385"/>
            <a:ext cx="2496698" cy="686954"/>
            <a:chOff x="2547140" y="3203385"/>
            <a:chExt cx="2496698" cy="686954"/>
          </a:xfrm>
        </p:grpSpPr>
        <p:sp>
          <p:nvSpPr>
            <p:cNvPr id="73" name="Rectangle 72">
              <a:extLst>
                <a:ext uri="{FF2B5EF4-FFF2-40B4-BE49-F238E27FC236}">
                  <a16:creationId xmlns:a16="http://schemas.microsoft.com/office/drawing/2014/main" id="{06BEAAE8-9E38-4844-A7E3-72133AFF9C3C}"/>
                </a:ext>
              </a:extLst>
            </p:cNvPr>
            <p:cNvSpPr/>
            <p:nvPr/>
          </p:nvSpPr>
          <p:spPr>
            <a:xfrm>
              <a:off x="2547840" y="3382175"/>
              <a:ext cx="572468" cy="259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4" name="Rectangle 73">
              <a:extLst>
                <a:ext uri="{FF2B5EF4-FFF2-40B4-BE49-F238E27FC236}">
                  <a16:creationId xmlns:a16="http://schemas.microsoft.com/office/drawing/2014/main" id="{E00ABB3D-A16B-4839-9066-32A14827C4B5}"/>
                </a:ext>
              </a:extLst>
            </p:cNvPr>
            <p:cNvSpPr/>
            <p:nvPr/>
          </p:nvSpPr>
          <p:spPr>
            <a:xfrm>
              <a:off x="2547140" y="3203385"/>
              <a:ext cx="144897" cy="259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5" name="Rectangle 74">
              <a:extLst>
                <a:ext uri="{FF2B5EF4-FFF2-40B4-BE49-F238E27FC236}">
                  <a16:creationId xmlns:a16="http://schemas.microsoft.com/office/drawing/2014/main" id="{F9805FC8-72F3-4756-99A7-545071B830F7}"/>
                </a:ext>
              </a:extLst>
            </p:cNvPr>
            <p:cNvSpPr/>
            <p:nvPr/>
          </p:nvSpPr>
          <p:spPr>
            <a:xfrm>
              <a:off x="4471370" y="3630540"/>
              <a:ext cx="572468" cy="259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6" name="Rectangle 75">
              <a:extLst>
                <a:ext uri="{FF2B5EF4-FFF2-40B4-BE49-F238E27FC236}">
                  <a16:creationId xmlns:a16="http://schemas.microsoft.com/office/drawing/2014/main" id="{33B8F2AA-3892-45E9-A772-2B4C805EFCDD}"/>
                </a:ext>
              </a:extLst>
            </p:cNvPr>
            <p:cNvSpPr/>
            <p:nvPr/>
          </p:nvSpPr>
          <p:spPr>
            <a:xfrm>
              <a:off x="4470670" y="3451750"/>
              <a:ext cx="144897" cy="259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pSp>
      <p:grpSp>
        <p:nvGrpSpPr>
          <p:cNvPr id="72" name="Group 71">
            <a:extLst>
              <a:ext uri="{FF2B5EF4-FFF2-40B4-BE49-F238E27FC236}">
                <a16:creationId xmlns:a16="http://schemas.microsoft.com/office/drawing/2014/main" id="{F939406A-D1BF-4989-98A0-DB991FC71C92}"/>
              </a:ext>
            </a:extLst>
          </p:cNvPr>
          <p:cNvGrpSpPr/>
          <p:nvPr/>
        </p:nvGrpSpPr>
        <p:grpSpPr>
          <a:xfrm>
            <a:off x="1656807" y="1642070"/>
            <a:ext cx="8280685" cy="4913018"/>
            <a:chOff x="1656807" y="1642070"/>
            <a:chExt cx="8280685" cy="4913018"/>
          </a:xfrm>
        </p:grpSpPr>
        <p:sp>
          <p:nvSpPr>
            <p:cNvPr id="23" name="Oval 22">
              <a:extLst>
                <a:ext uri="{FF2B5EF4-FFF2-40B4-BE49-F238E27FC236}">
                  <a16:creationId xmlns:a16="http://schemas.microsoft.com/office/drawing/2014/main" id="{DC8740ED-110A-48E2-BA81-7BC38CF7AB39}"/>
                </a:ext>
              </a:extLst>
            </p:cNvPr>
            <p:cNvSpPr/>
            <p:nvPr/>
          </p:nvSpPr>
          <p:spPr>
            <a:xfrm>
              <a:off x="2945001" y="2135928"/>
              <a:ext cx="216024" cy="216000"/>
            </a:xfrm>
            <a:prstGeom prst="ellipse">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ZA"/>
            </a:p>
          </p:txBody>
        </p:sp>
        <p:sp>
          <p:nvSpPr>
            <p:cNvPr id="24" name="Oval 23">
              <a:extLst>
                <a:ext uri="{FF2B5EF4-FFF2-40B4-BE49-F238E27FC236}">
                  <a16:creationId xmlns:a16="http://schemas.microsoft.com/office/drawing/2014/main" id="{D86ABED9-EA80-4E34-956B-F38A1DA80650}"/>
                </a:ext>
              </a:extLst>
            </p:cNvPr>
            <p:cNvSpPr/>
            <p:nvPr/>
          </p:nvSpPr>
          <p:spPr>
            <a:xfrm>
              <a:off x="3176299" y="2639202"/>
              <a:ext cx="216024" cy="216000"/>
            </a:xfrm>
            <a:prstGeom prst="ellipse">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ZA"/>
            </a:p>
          </p:txBody>
        </p:sp>
        <p:sp>
          <p:nvSpPr>
            <p:cNvPr id="25" name="Oval 24">
              <a:extLst>
                <a:ext uri="{FF2B5EF4-FFF2-40B4-BE49-F238E27FC236}">
                  <a16:creationId xmlns:a16="http://schemas.microsoft.com/office/drawing/2014/main" id="{70E23B71-3BBD-49EE-AAFC-85FBF1D8B276}"/>
                </a:ext>
              </a:extLst>
            </p:cNvPr>
            <p:cNvSpPr/>
            <p:nvPr/>
          </p:nvSpPr>
          <p:spPr>
            <a:xfrm>
              <a:off x="4894554" y="2385803"/>
              <a:ext cx="216024" cy="216000"/>
            </a:xfrm>
            <a:prstGeom prst="ellipse">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ZA"/>
            </a:p>
          </p:txBody>
        </p:sp>
        <p:sp>
          <p:nvSpPr>
            <p:cNvPr id="26" name="Oval 25">
              <a:extLst>
                <a:ext uri="{FF2B5EF4-FFF2-40B4-BE49-F238E27FC236}">
                  <a16:creationId xmlns:a16="http://schemas.microsoft.com/office/drawing/2014/main" id="{A18B6255-1B53-49AC-B28A-9E8B89FAA2DA}"/>
                </a:ext>
              </a:extLst>
            </p:cNvPr>
            <p:cNvSpPr/>
            <p:nvPr/>
          </p:nvSpPr>
          <p:spPr>
            <a:xfrm>
              <a:off x="5125852" y="2889077"/>
              <a:ext cx="216024" cy="216000"/>
            </a:xfrm>
            <a:prstGeom prst="ellipse">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ZA"/>
            </a:p>
          </p:txBody>
        </p:sp>
        <p:sp>
          <p:nvSpPr>
            <p:cNvPr id="45" name="Oval 44">
              <a:extLst>
                <a:ext uri="{FF2B5EF4-FFF2-40B4-BE49-F238E27FC236}">
                  <a16:creationId xmlns:a16="http://schemas.microsoft.com/office/drawing/2014/main" id="{DD6E634B-6241-490A-9B83-05E108EF66F3}"/>
                </a:ext>
              </a:extLst>
            </p:cNvPr>
            <p:cNvSpPr/>
            <p:nvPr/>
          </p:nvSpPr>
          <p:spPr>
            <a:xfrm>
              <a:off x="1697703" y="1642070"/>
              <a:ext cx="216024" cy="216000"/>
            </a:xfrm>
            <a:prstGeom prst="ellipse">
              <a:avLst/>
            </a:prstGeom>
            <a:noFill/>
            <a:ln>
              <a:solidFill>
                <a:schemeClr val="accent6"/>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ZA"/>
            </a:p>
          </p:txBody>
        </p:sp>
        <p:sp>
          <p:nvSpPr>
            <p:cNvPr id="46" name="Oval 45">
              <a:extLst>
                <a:ext uri="{FF2B5EF4-FFF2-40B4-BE49-F238E27FC236}">
                  <a16:creationId xmlns:a16="http://schemas.microsoft.com/office/drawing/2014/main" id="{7F823729-23EF-4FD1-BEFD-B18E9C29A6AA}"/>
                </a:ext>
              </a:extLst>
            </p:cNvPr>
            <p:cNvSpPr/>
            <p:nvPr/>
          </p:nvSpPr>
          <p:spPr>
            <a:xfrm>
              <a:off x="1657225" y="2134091"/>
              <a:ext cx="216024" cy="216000"/>
            </a:xfrm>
            <a:prstGeom prst="ellipse">
              <a:avLst/>
            </a:prstGeom>
            <a:noFill/>
            <a:ln>
              <a:solidFill>
                <a:schemeClr val="accent6"/>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ZA"/>
            </a:p>
          </p:txBody>
        </p:sp>
        <p:sp>
          <p:nvSpPr>
            <p:cNvPr id="47" name="Oval 46">
              <a:extLst>
                <a:ext uri="{FF2B5EF4-FFF2-40B4-BE49-F238E27FC236}">
                  <a16:creationId xmlns:a16="http://schemas.microsoft.com/office/drawing/2014/main" id="{E8960497-DCF7-478A-A605-2A777AC51028}"/>
                </a:ext>
              </a:extLst>
            </p:cNvPr>
            <p:cNvSpPr/>
            <p:nvPr/>
          </p:nvSpPr>
          <p:spPr>
            <a:xfrm>
              <a:off x="1656807" y="2385803"/>
              <a:ext cx="216024" cy="216000"/>
            </a:xfrm>
            <a:prstGeom prst="ellipse">
              <a:avLst/>
            </a:prstGeom>
            <a:noFill/>
            <a:ln>
              <a:solidFill>
                <a:schemeClr val="accent6"/>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ZA"/>
            </a:p>
          </p:txBody>
        </p:sp>
        <p:sp>
          <p:nvSpPr>
            <p:cNvPr id="48" name="Oval 47">
              <a:extLst>
                <a:ext uri="{FF2B5EF4-FFF2-40B4-BE49-F238E27FC236}">
                  <a16:creationId xmlns:a16="http://schemas.microsoft.com/office/drawing/2014/main" id="{17AC829E-E5E4-422D-935D-F7ED1E816C72}"/>
                </a:ext>
              </a:extLst>
            </p:cNvPr>
            <p:cNvSpPr/>
            <p:nvPr/>
          </p:nvSpPr>
          <p:spPr>
            <a:xfrm>
              <a:off x="4034948" y="2639202"/>
              <a:ext cx="216024" cy="216000"/>
            </a:xfrm>
            <a:prstGeom prst="ellipse">
              <a:avLst/>
            </a:prstGeom>
            <a:noFill/>
            <a:ln>
              <a:solidFill>
                <a:schemeClr val="accent6"/>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ZA"/>
            </a:p>
          </p:txBody>
        </p:sp>
        <p:sp>
          <p:nvSpPr>
            <p:cNvPr id="49" name="Oval 48">
              <a:extLst>
                <a:ext uri="{FF2B5EF4-FFF2-40B4-BE49-F238E27FC236}">
                  <a16:creationId xmlns:a16="http://schemas.microsoft.com/office/drawing/2014/main" id="{5EF1D396-DEE2-4FA5-A835-F870CFDDCE5E}"/>
                </a:ext>
              </a:extLst>
            </p:cNvPr>
            <p:cNvSpPr/>
            <p:nvPr/>
          </p:nvSpPr>
          <p:spPr>
            <a:xfrm>
              <a:off x="3604617" y="2637497"/>
              <a:ext cx="216024" cy="216000"/>
            </a:xfrm>
            <a:prstGeom prst="ellipse">
              <a:avLst/>
            </a:prstGeom>
            <a:noFill/>
            <a:ln>
              <a:solidFill>
                <a:schemeClr val="accent6"/>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ZA"/>
            </a:p>
          </p:txBody>
        </p:sp>
        <p:sp>
          <p:nvSpPr>
            <p:cNvPr id="50" name="Oval 49">
              <a:extLst>
                <a:ext uri="{FF2B5EF4-FFF2-40B4-BE49-F238E27FC236}">
                  <a16:creationId xmlns:a16="http://schemas.microsoft.com/office/drawing/2014/main" id="{6E697FE4-B142-4869-B232-420E09DA7B8C}"/>
                </a:ext>
              </a:extLst>
            </p:cNvPr>
            <p:cNvSpPr/>
            <p:nvPr/>
          </p:nvSpPr>
          <p:spPr>
            <a:xfrm>
              <a:off x="3604617" y="2891025"/>
              <a:ext cx="216024" cy="216000"/>
            </a:xfrm>
            <a:prstGeom prst="ellipse">
              <a:avLst/>
            </a:prstGeom>
            <a:noFill/>
            <a:ln>
              <a:solidFill>
                <a:schemeClr val="accent6"/>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ZA"/>
            </a:p>
          </p:txBody>
        </p:sp>
        <p:sp>
          <p:nvSpPr>
            <p:cNvPr id="57" name="Oval 56">
              <a:extLst>
                <a:ext uri="{FF2B5EF4-FFF2-40B4-BE49-F238E27FC236}">
                  <a16:creationId xmlns:a16="http://schemas.microsoft.com/office/drawing/2014/main" id="{35D8D2F4-E02C-44A2-B377-67D755A9274E}"/>
                </a:ext>
              </a:extLst>
            </p:cNvPr>
            <p:cNvSpPr/>
            <p:nvPr/>
          </p:nvSpPr>
          <p:spPr>
            <a:xfrm>
              <a:off x="2081610" y="2134091"/>
              <a:ext cx="216024" cy="216000"/>
            </a:xfrm>
            <a:prstGeom prst="ellipse">
              <a:avLst/>
            </a:prstGeom>
            <a:noFill/>
            <a:ln>
              <a:solidFill>
                <a:schemeClr val="accent6"/>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ZA"/>
            </a:p>
          </p:txBody>
        </p:sp>
        <p:cxnSp>
          <p:nvCxnSpPr>
            <p:cNvPr id="27" name="Straight Arrow Connector 26">
              <a:extLst>
                <a:ext uri="{FF2B5EF4-FFF2-40B4-BE49-F238E27FC236}">
                  <a16:creationId xmlns:a16="http://schemas.microsoft.com/office/drawing/2014/main" id="{951DFD02-AC1A-4FB9-942D-6984E70042C5}"/>
                </a:ext>
              </a:extLst>
            </p:cNvPr>
            <p:cNvCxnSpPr>
              <a:cxnSpLocks/>
              <a:stCxn id="23" idx="6"/>
              <a:endCxn id="20" idx="2"/>
            </p:cNvCxnSpPr>
            <p:nvPr/>
          </p:nvCxnSpPr>
          <p:spPr>
            <a:xfrm>
              <a:off x="3161025" y="2243928"/>
              <a:ext cx="3285448" cy="2161285"/>
            </a:xfrm>
            <a:prstGeom prst="straightConnector1">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FBE27DEF-3A74-43E3-B8F7-1B7A69079A94}"/>
                </a:ext>
              </a:extLst>
            </p:cNvPr>
            <p:cNvCxnSpPr>
              <a:cxnSpLocks/>
              <a:stCxn id="24" idx="5"/>
            </p:cNvCxnSpPr>
            <p:nvPr/>
          </p:nvCxnSpPr>
          <p:spPr>
            <a:xfrm>
              <a:off x="3360687" y="2823570"/>
              <a:ext cx="3077509" cy="2498762"/>
            </a:xfrm>
            <a:prstGeom prst="straightConnector1">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3BB87331-B9D6-4071-AAB8-26B914B4A287}"/>
                </a:ext>
              </a:extLst>
            </p:cNvPr>
            <p:cNvCxnSpPr>
              <a:cxnSpLocks/>
              <a:stCxn id="25" idx="6"/>
              <a:endCxn id="21" idx="2"/>
            </p:cNvCxnSpPr>
            <p:nvPr/>
          </p:nvCxnSpPr>
          <p:spPr>
            <a:xfrm>
              <a:off x="5110578" y="2493803"/>
              <a:ext cx="4826914" cy="1927003"/>
            </a:xfrm>
            <a:prstGeom prst="straightConnector1">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8CBC42D6-93B5-4C35-A56A-BBC0FDF01302}"/>
                </a:ext>
              </a:extLst>
            </p:cNvPr>
            <p:cNvCxnSpPr>
              <a:cxnSpLocks/>
              <a:stCxn id="26" idx="6"/>
            </p:cNvCxnSpPr>
            <p:nvPr/>
          </p:nvCxnSpPr>
          <p:spPr>
            <a:xfrm>
              <a:off x="5341876" y="2997077"/>
              <a:ext cx="4569101" cy="2325255"/>
            </a:xfrm>
            <a:prstGeom prst="straightConnector1">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23137E18-27EE-4BF2-B54F-79519AA890E9}"/>
                </a:ext>
              </a:extLst>
            </p:cNvPr>
            <p:cNvCxnSpPr>
              <a:cxnSpLocks/>
              <a:stCxn id="45" idx="6"/>
            </p:cNvCxnSpPr>
            <p:nvPr/>
          </p:nvCxnSpPr>
          <p:spPr>
            <a:xfrm>
              <a:off x="1913727" y="1750070"/>
              <a:ext cx="6196694" cy="3176218"/>
            </a:xfrm>
            <a:prstGeom prst="straightConnector1">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C08B6040-EDBE-4E54-B4CD-CADBF703B644}"/>
                </a:ext>
              </a:extLst>
            </p:cNvPr>
            <p:cNvCxnSpPr>
              <a:cxnSpLocks/>
              <a:stCxn id="46" idx="6"/>
            </p:cNvCxnSpPr>
            <p:nvPr/>
          </p:nvCxnSpPr>
          <p:spPr>
            <a:xfrm>
              <a:off x="1873249" y="2242091"/>
              <a:ext cx="6237172" cy="2934072"/>
            </a:xfrm>
            <a:prstGeom prst="straightConnector1">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4A349C7D-5DBC-425A-9BAF-2F6A921F1382}"/>
                </a:ext>
              </a:extLst>
            </p:cNvPr>
            <p:cNvCxnSpPr>
              <a:cxnSpLocks/>
              <a:stCxn id="47" idx="6"/>
            </p:cNvCxnSpPr>
            <p:nvPr/>
          </p:nvCxnSpPr>
          <p:spPr>
            <a:xfrm>
              <a:off x="1872831" y="2493803"/>
              <a:ext cx="6237590" cy="2932235"/>
            </a:xfrm>
            <a:prstGeom prst="straightConnector1">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31FEB82D-4D8B-4737-BB80-B2E7BE23D7C6}"/>
                </a:ext>
              </a:extLst>
            </p:cNvPr>
            <p:cNvCxnSpPr>
              <a:cxnSpLocks/>
              <a:stCxn id="49" idx="6"/>
            </p:cNvCxnSpPr>
            <p:nvPr/>
          </p:nvCxnSpPr>
          <p:spPr>
            <a:xfrm>
              <a:off x="3820641" y="2745497"/>
              <a:ext cx="4280109" cy="2972879"/>
            </a:xfrm>
            <a:prstGeom prst="straightConnector1">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8C743A44-F888-4ECA-B2C1-1A77A19FCA8F}"/>
                </a:ext>
              </a:extLst>
            </p:cNvPr>
            <p:cNvCxnSpPr>
              <a:cxnSpLocks/>
              <a:stCxn id="50" idx="6"/>
            </p:cNvCxnSpPr>
            <p:nvPr/>
          </p:nvCxnSpPr>
          <p:spPr>
            <a:xfrm>
              <a:off x="3820641" y="2999025"/>
              <a:ext cx="4289780" cy="3007383"/>
            </a:xfrm>
            <a:prstGeom prst="straightConnector1">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0834C3EA-18C6-43A9-88B6-593460FB9A4B}"/>
                </a:ext>
              </a:extLst>
            </p:cNvPr>
            <p:cNvCxnSpPr>
              <a:cxnSpLocks/>
              <a:stCxn id="48" idx="6"/>
            </p:cNvCxnSpPr>
            <p:nvPr/>
          </p:nvCxnSpPr>
          <p:spPr>
            <a:xfrm>
              <a:off x="4250972" y="2747202"/>
              <a:ext cx="3868405" cy="3807886"/>
            </a:xfrm>
            <a:prstGeom prst="straightConnector1">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C0EC7093-2C06-400B-8408-39CF75A22192}"/>
                </a:ext>
              </a:extLst>
            </p:cNvPr>
            <p:cNvCxnSpPr>
              <a:cxnSpLocks/>
              <a:stCxn id="57" idx="6"/>
            </p:cNvCxnSpPr>
            <p:nvPr/>
          </p:nvCxnSpPr>
          <p:spPr>
            <a:xfrm>
              <a:off x="2297634" y="2242091"/>
              <a:ext cx="5821630" cy="4052349"/>
            </a:xfrm>
            <a:prstGeom prst="straightConnector1">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E29232A-04B2-43A9-856C-32001C4B45FC}"/>
              </a:ext>
            </a:extLst>
          </p:cNvPr>
          <p:cNvSpPr>
            <a:spLocks noGrp="1"/>
          </p:cNvSpPr>
          <p:nvPr>
            <p:ph type="title"/>
          </p:nvPr>
        </p:nvSpPr>
        <p:spPr/>
        <p:txBody>
          <a:bodyPr/>
          <a:lstStyle/>
          <a:p>
            <a:r>
              <a:rPr lang="en-ZA" b="1" dirty="0">
                <a:latin typeface="Century Gothic" panose="020B0502020202020204" pitchFamily="34" charset="0"/>
              </a:rPr>
              <a:t>ACTIO data model</a:t>
            </a:r>
          </a:p>
        </p:txBody>
      </p:sp>
      <p:sp>
        <p:nvSpPr>
          <p:cNvPr id="8" name="Oval 7">
            <a:extLst>
              <a:ext uri="{FF2B5EF4-FFF2-40B4-BE49-F238E27FC236}">
                <a16:creationId xmlns:a16="http://schemas.microsoft.com/office/drawing/2014/main" id="{B6F706B4-E10F-4F47-9694-266D44C973CD}"/>
              </a:ext>
            </a:extLst>
          </p:cNvPr>
          <p:cNvSpPr/>
          <p:nvPr/>
        </p:nvSpPr>
        <p:spPr>
          <a:xfrm>
            <a:off x="6438196" y="850070"/>
            <a:ext cx="900000" cy="900000"/>
          </a:xfrm>
          <a:prstGeom prst="ellipse">
            <a:avLst/>
          </a:prstGeom>
          <a:solidFill>
            <a:srgbClr val="FF616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b="1" dirty="0"/>
              <a:t>Entity</a:t>
            </a:r>
            <a:endParaRPr lang="en-ZA" b="1" dirty="0"/>
          </a:p>
        </p:txBody>
      </p:sp>
      <p:sp>
        <p:nvSpPr>
          <p:cNvPr id="9" name="Oval 8">
            <a:extLst>
              <a:ext uri="{FF2B5EF4-FFF2-40B4-BE49-F238E27FC236}">
                <a16:creationId xmlns:a16="http://schemas.microsoft.com/office/drawing/2014/main" id="{8E0D5041-42A7-4510-B6B4-28261AE53495}"/>
              </a:ext>
            </a:extLst>
          </p:cNvPr>
          <p:cNvSpPr/>
          <p:nvPr/>
        </p:nvSpPr>
        <p:spPr>
          <a:xfrm>
            <a:off x="9929475" y="850070"/>
            <a:ext cx="900000" cy="900000"/>
          </a:xfrm>
          <a:prstGeom prst="ellipse">
            <a:avLst/>
          </a:prstGeom>
          <a:solidFill>
            <a:srgbClr val="FF616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b="1" dirty="0"/>
              <a:t>Entity</a:t>
            </a:r>
            <a:endParaRPr lang="en-ZA" b="1" dirty="0"/>
          </a:p>
        </p:txBody>
      </p:sp>
      <p:graphicFrame>
        <p:nvGraphicFramePr>
          <p:cNvPr id="12" name="Table 20">
            <a:extLst>
              <a:ext uri="{FF2B5EF4-FFF2-40B4-BE49-F238E27FC236}">
                <a16:creationId xmlns:a16="http://schemas.microsoft.com/office/drawing/2014/main" id="{F2335AD1-5750-4BA0-8BAD-81FB01B0EBC4}"/>
              </a:ext>
            </a:extLst>
          </p:cNvPr>
          <p:cNvGraphicFramePr>
            <a:graphicFrameLocks noGrp="1"/>
          </p:cNvGraphicFramePr>
          <p:nvPr>
            <p:extLst>
              <p:ext uri="{D42A27DB-BD31-4B8C-83A1-F6EECF244321}">
                <p14:modId xmlns:p14="http://schemas.microsoft.com/office/powerpoint/2010/main" val="2546114135"/>
              </p:ext>
            </p:extLst>
          </p:nvPr>
        </p:nvGraphicFramePr>
        <p:xfrm>
          <a:off x="7461050" y="937252"/>
          <a:ext cx="1061549" cy="822960"/>
        </p:xfrm>
        <a:graphic>
          <a:graphicData uri="http://schemas.openxmlformats.org/drawingml/2006/table">
            <a:tbl>
              <a:tblPr firstRow="1" bandRow="1">
                <a:tableStyleId>{5940675A-B579-460E-94D1-54222C63F5DA}</a:tableStyleId>
              </a:tblPr>
              <a:tblGrid>
                <a:gridCol w="1061549">
                  <a:extLst>
                    <a:ext uri="{9D8B030D-6E8A-4147-A177-3AD203B41FA5}">
                      <a16:colId xmlns:a16="http://schemas.microsoft.com/office/drawing/2014/main" val="2745983116"/>
                    </a:ext>
                  </a:extLst>
                </a:gridCol>
              </a:tblGrid>
              <a:tr h="159192">
                <a:tc>
                  <a:txBody>
                    <a:bodyPr/>
                    <a:lstStyle/>
                    <a:p>
                      <a:r>
                        <a:rPr lang="en-GB" sz="1200" b="1" dirty="0"/>
                        <a:t>Attributes</a:t>
                      </a:r>
                      <a:endParaRPr lang="en-ZA" sz="1200" b="1" dirty="0"/>
                    </a:p>
                  </a:txBody>
                  <a:tcPr/>
                </a:tc>
                <a:extLst>
                  <a:ext uri="{0D108BD9-81ED-4DB2-BD59-A6C34878D82A}">
                    <a16:rowId xmlns:a16="http://schemas.microsoft.com/office/drawing/2014/main" val="579934363"/>
                  </a:ext>
                </a:extLst>
              </a:tr>
              <a:tr h="159192">
                <a:tc>
                  <a:txBody>
                    <a:bodyPr/>
                    <a:lstStyle/>
                    <a:p>
                      <a:r>
                        <a:rPr lang="en-GB" sz="1200" dirty="0"/>
                        <a:t>Id</a:t>
                      </a:r>
                      <a:endParaRPr lang="en-ZA" sz="1200" dirty="0"/>
                    </a:p>
                  </a:txBody>
                  <a:tcPr/>
                </a:tc>
                <a:extLst>
                  <a:ext uri="{0D108BD9-81ED-4DB2-BD59-A6C34878D82A}">
                    <a16:rowId xmlns:a16="http://schemas.microsoft.com/office/drawing/2014/main" val="2508267144"/>
                  </a:ext>
                </a:extLst>
              </a:tr>
              <a:tr h="159192">
                <a:tc>
                  <a:txBody>
                    <a:bodyPr/>
                    <a:lstStyle/>
                    <a:p>
                      <a:r>
                        <a:rPr lang="en-GB" sz="1200" dirty="0" err="1"/>
                        <a:t>CreDtTm</a:t>
                      </a:r>
                      <a:endParaRPr lang="en-ZA" sz="1200" dirty="0"/>
                    </a:p>
                  </a:txBody>
                  <a:tcPr/>
                </a:tc>
                <a:extLst>
                  <a:ext uri="{0D108BD9-81ED-4DB2-BD59-A6C34878D82A}">
                    <a16:rowId xmlns:a16="http://schemas.microsoft.com/office/drawing/2014/main" val="1468306560"/>
                  </a:ext>
                </a:extLst>
              </a:tr>
            </a:tbl>
          </a:graphicData>
        </a:graphic>
      </p:graphicFrame>
      <p:graphicFrame>
        <p:nvGraphicFramePr>
          <p:cNvPr id="17" name="Table 20">
            <a:extLst>
              <a:ext uri="{FF2B5EF4-FFF2-40B4-BE49-F238E27FC236}">
                <a16:creationId xmlns:a16="http://schemas.microsoft.com/office/drawing/2014/main" id="{925DA1C8-C100-4D14-94C6-8B442CB1AB1F}"/>
              </a:ext>
            </a:extLst>
          </p:cNvPr>
          <p:cNvGraphicFramePr>
            <a:graphicFrameLocks noGrp="1"/>
          </p:cNvGraphicFramePr>
          <p:nvPr>
            <p:extLst>
              <p:ext uri="{D42A27DB-BD31-4B8C-83A1-F6EECF244321}">
                <p14:modId xmlns:p14="http://schemas.microsoft.com/office/powerpoint/2010/main" val="4164797217"/>
              </p:ext>
            </p:extLst>
          </p:nvPr>
        </p:nvGraphicFramePr>
        <p:xfrm>
          <a:off x="10956329" y="920417"/>
          <a:ext cx="1040649" cy="822960"/>
        </p:xfrm>
        <a:graphic>
          <a:graphicData uri="http://schemas.openxmlformats.org/drawingml/2006/table">
            <a:tbl>
              <a:tblPr firstRow="1" bandRow="1">
                <a:tableStyleId>{5940675A-B579-460E-94D1-54222C63F5DA}</a:tableStyleId>
              </a:tblPr>
              <a:tblGrid>
                <a:gridCol w="1040649">
                  <a:extLst>
                    <a:ext uri="{9D8B030D-6E8A-4147-A177-3AD203B41FA5}">
                      <a16:colId xmlns:a16="http://schemas.microsoft.com/office/drawing/2014/main" val="2745983116"/>
                    </a:ext>
                  </a:extLst>
                </a:gridCol>
              </a:tblGrid>
              <a:tr h="159192">
                <a:tc>
                  <a:txBody>
                    <a:bodyPr/>
                    <a:lstStyle/>
                    <a:p>
                      <a:r>
                        <a:rPr lang="en-GB" sz="1200" b="1" dirty="0"/>
                        <a:t>Attributes</a:t>
                      </a:r>
                      <a:endParaRPr lang="en-ZA" sz="1200" b="1" dirty="0"/>
                    </a:p>
                  </a:txBody>
                  <a:tcPr/>
                </a:tc>
                <a:extLst>
                  <a:ext uri="{0D108BD9-81ED-4DB2-BD59-A6C34878D82A}">
                    <a16:rowId xmlns:a16="http://schemas.microsoft.com/office/drawing/2014/main" val="579934363"/>
                  </a:ext>
                </a:extLst>
              </a:tr>
              <a:tr h="159192">
                <a:tc>
                  <a:txBody>
                    <a:bodyPr/>
                    <a:lstStyle/>
                    <a:p>
                      <a:r>
                        <a:rPr lang="en-GB" sz="1200" dirty="0"/>
                        <a:t>Id</a:t>
                      </a:r>
                      <a:endParaRPr lang="en-ZA" sz="1200" dirty="0"/>
                    </a:p>
                  </a:txBody>
                  <a:tcPr/>
                </a:tc>
                <a:extLst>
                  <a:ext uri="{0D108BD9-81ED-4DB2-BD59-A6C34878D82A}">
                    <a16:rowId xmlns:a16="http://schemas.microsoft.com/office/drawing/2014/main" val="2508267144"/>
                  </a:ext>
                </a:extLst>
              </a:tr>
              <a:tr h="159192">
                <a:tc>
                  <a:txBody>
                    <a:bodyPr/>
                    <a:lstStyle/>
                    <a:p>
                      <a:r>
                        <a:rPr lang="en-GB" sz="1200" dirty="0" err="1"/>
                        <a:t>CreDtTm</a:t>
                      </a:r>
                      <a:endParaRPr lang="en-ZA" sz="1200" dirty="0"/>
                    </a:p>
                  </a:txBody>
                  <a:tcPr/>
                </a:tc>
                <a:extLst>
                  <a:ext uri="{0D108BD9-81ED-4DB2-BD59-A6C34878D82A}">
                    <a16:rowId xmlns:a16="http://schemas.microsoft.com/office/drawing/2014/main" val="2730377925"/>
                  </a:ext>
                </a:extLst>
              </a:tr>
            </a:tbl>
          </a:graphicData>
        </a:graphic>
      </p:graphicFrame>
      <p:sp>
        <p:nvSpPr>
          <p:cNvPr id="20" name="Oval 19">
            <a:extLst>
              <a:ext uri="{FF2B5EF4-FFF2-40B4-BE49-F238E27FC236}">
                <a16:creationId xmlns:a16="http://schemas.microsoft.com/office/drawing/2014/main" id="{53D525F0-4AD4-4982-A1CA-9F5C26233FA4}"/>
              </a:ext>
            </a:extLst>
          </p:cNvPr>
          <p:cNvSpPr/>
          <p:nvPr/>
        </p:nvSpPr>
        <p:spPr>
          <a:xfrm>
            <a:off x="6446473" y="3955213"/>
            <a:ext cx="900000" cy="900000"/>
          </a:xfrm>
          <a:prstGeom prst="ellipse">
            <a:avLst/>
          </a:prstGeom>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algn="ctr"/>
            <a:r>
              <a:rPr lang="en-GB" sz="1200" b="1" dirty="0"/>
              <a:t>Account</a:t>
            </a:r>
            <a:endParaRPr lang="en-ZA" sz="1200" b="1" dirty="0"/>
          </a:p>
        </p:txBody>
      </p:sp>
      <p:sp>
        <p:nvSpPr>
          <p:cNvPr id="21" name="Oval 20">
            <a:extLst>
              <a:ext uri="{FF2B5EF4-FFF2-40B4-BE49-F238E27FC236}">
                <a16:creationId xmlns:a16="http://schemas.microsoft.com/office/drawing/2014/main" id="{D00DADF9-EFB3-4B64-8EC8-705EE40CBC69}"/>
              </a:ext>
            </a:extLst>
          </p:cNvPr>
          <p:cNvSpPr/>
          <p:nvPr/>
        </p:nvSpPr>
        <p:spPr>
          <a:xfrm>
            <a:off x="9937492" y="3970806"/>
            <a:ext cx="900000" cy="900000"/>
          </a:xfrm>
          <a:prstGeom prst="ellipse">
            <a:avLst/>
          </a:prstGeom>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algn="ctr"/>
            <a:r>
              <a:rPr lang="en-GB" sz="1200" b="1" dirty="0"/>
              <a:t>Account</a:t>
            </a:r>
            <a:endParaRPr lang="en-ZA" sz="1200" b="1" dirty="0"/>
          </a:p>
        </p:txBody>
      </p:sp>
      <p:graphicFrame>
        <p:nvGraphicFramePr>
          <p:cNvPr id="22" name="Table 20">
            <a:extLst>
              <a:ext uri="{FF2B5EF4-FFF2-40B4-BE49-F238E27FC236}">
                <a16:creationId xmlns:a16="http://schemas.microsoft.com/office/drawing/2014/main" id="{58BD9B02-8FD2-4467-86C6-21D9BD3B5D6C}"/>
              </a:ext>
            </a:extLst>
          </p:cNvPr>
          <p:cNvGraphicFramePr>
            <a:graphicFrameLocks noGrp="1"/>
          </p:cNvGraphicFramePr>
          <p:nvPr>
            <p:extLst>
              <p:ext uri="{D42A27DB-BD31-4B8C-83A1-F6EECF244321}">
                <p14:modId xmlns:p14="http://schemas.microsoft.com/office/powerpoint/2010/main" val="856397965"/>
              </p:ext>
            </p:extLst>
          </p:nvPr>
        </p:nvGraphicFramePr>
        <p:xfrm>
          <a:off x="6438196" y="4926288"/>
          <a:ext cx="1048454" cy="548640"/>
        </p:xfrm>
        <a:graphic>
          <a:graphicData uri="http://schemas.openxmlformats.org/drawingml/2006/table">
            <a:tbl>
              <a:tblPr firstRow="1" bandRow="1">
                <a:tableStyleId>{5940675A-B579-460E-94D1-54222C63F5DA}</a:tableStyleId>
              </a:tblPr>
              <a:tblGrid>
                <a:gridCol w="1048454">
                  <a:extLst>
                    <a:ext uri="{9D8B030D-6E8A-4147-A177-3AD203B41FA5}">
                      <a16:colId xmlns:a16="http://schemas.microsoft.com/office/drawing/2014/main" val="2745983116"/>
                    </a:ext>
                  </a:extLst>
                </a:gridCol>
              </a:tblGrid>
              <a:tr h="159192">
                <a:tc>
                  <a:txBody>
                    <a:bodyPr/>
                    <a:lstStyle/>
                    <a:p>
                      <a:r>
                        <a:rPr lang="en-GB" sz="1200" b="1" dirty="0"/>
                        <a:t>Attributes</a:t>
                      </a:r>
                      <a:endParaRPr lang="en-ZA" sz="1200" b="1" dirty="0"/>
                    </a:p>
                  </a:txBody>
                  <a:tcPr/>
                </a:tc>
                <a:extLst>
                  <a:ext uri="{0D108BD9-81ED-4DB2-BD59-A6C34878D82A}">
                    <a16:rowId xmlns:a16="http://schemas.microsoft.com/office/drawing/2014/main" val="579934363"/>
                  </a:ext>
                </a:extLst>
              </a:tr>
              <a:tr h="159192">
                <a:tc>
                  <a:txBody>
                    <a:bodyPr/>
                    <a:lstStyle/>
                    <a:p>
                      <a:r>
                        <a:rPr lang="en-GB" sz="1200" dirty="0"/>
                        <a:t>Id</a:t>
                      </a:r>
                      <a:endParaRPr lang="en-ZA" sz="1200" dirty="0"/>
                    </a:p>
                  </a:txBody>
                  <a:tcPr/>
                </a:tc>
                <a:extLst>
                  <a:ext uri="{0D108BD9-81ED-4DB2-BD59-A6C34878D82A}">
                    <a16:rowId xmlns:a16="http://schemas.microsoft.com/office/drawing/2014/main" val="2508267144"/>
                  </a:ext>
                </a:extLst>
              </a:tr>
            </a:tbl>
          </a:graphicData>
        </a:graphic>
      </p:graphicFrame>
      <p:graphicFrame>
        <p:nvGraphicFramePr>
          <p:cNvPr id="31" name="Table 20">
            <a:extLst>
              <a:ext uri="{FF2B5EF4-FFF2-40B4-BE49-F238E27FC236}">
                <a16:creationId xmlns:a16="http://schemas.microsoft.com/office/drawing/2014/main" id="{2C29F01B-5079-4461-9A92-742C1EDCE99C}"/>
              </a:ext>
            </a:extLst>
          </p:cNvPr>
          <p:cNvGraphicFramePr>
            <a:graphicFrameLocks noGrp="1"/>
          </p:cNvGraphicFramePr>
          <p:nvPr>
            <p:extLst>
              <p:ext uri="{D42A27DB-BD31-4B8C-83A1-F6EECF244321}">
                <p14:modId xmlns:p14="http://schemas.microsoft.com/office/powerpoint/2010/main" val="1379623060"/>
              </p:ext>
            </p:extLst>
          </p:nvPr>
        </p:nvGraphicFramePr>
        <p:xfrm>
          <a:off x="9929474" y="4926288"/>
          <a:ext cx="1040649" cy="548640"/>
        </p:xfrm>
        <a:graphic>
          <a:graphicData uri="http://schemas.openxmlformats.org/drawingml/2006/table">
            <a:tbl>
              <a:tblPr firstRow="1" bandRow="1">
                <a:tableStyleId>{5940675A-B579-460E-94D1-54222C63F5DA}</a:tableStyleId>
              </a:tblPr>
              <a:tblGrid>
                <a:gridCol w="1040649">
                  <a:extLst>
                    <a:ext uri="{9D8B030D-6E8A-4147-A177-3AD203B41FA5}">
                      <a16:colId xmlns:a16="http://schemas.microsoft.com/office/drawing/2014/main" val="2745983116"/>
                    </a:ext>
                  </a:extLst>
                </a:gridCol>
              </a:tblGrid>
              <a:tr h="159192">
                <a:tc>
                  <a:txBody>
                    <a:bodyPr/>
                    <a:lstStyle/>
                    <a:p>
                      <a:r>
                        <a:rPr lang="en-GB" sz="1200" b="1" dirty="0"/>
                        <a:t>Attributes</a:t>
                      </a:r>
                      <a:endParaRPr lang="en-ZA" sz="1200" b="1" dirty="0"/>
                    </a:p>
                  </a:txBody>
                  <a:tcPr/>
                </a:tc>
                <a:extLst>
                  <a:ext uri="{0D108BD9-81ED-4DB2-BD59-A6C34878D82A}">
                    <a16:rowId xmlns:a16="http://schemas.microsoft.com/office/drawing/2014/main" val="579934363"/>
                  </a:ext>
                </a:extLst>
              </a:tr>
              <a:tr h="159192">
                <a:tc>
                  <a:txBody>
                    <a:bodyPr/>
                    <a:lstStyle/>
                    <a:p>
                      <a:r>
                        <a:rPr lang="en-GB" sz="1200" dirty="0"/>
                        <a:t>Id</a:t>
                      </a:r>
                      <a:endParaRPr lang="en-ZA" sz="1200" dirty="0"/>
                    </a:p>
                  </a:txBody>
                  <a:tcPr/>
                </a:tc>
                <a:extLst>
                  <a:ext uri="{0D108BD9-81ED-4DB2-BD59-A6C34878D82A}">
                    <a16:rowId xmlns:a16="http://schemas.microsoft.com/office/drawing/2014/main" val="2508267144"/>
                  </a:ext>
                </a:extLst>
              </a:tr>
            </a:tbl>
          </a:graphicData>
        </a:graphic>
      </p:graphicFrame>
      <p:cxnSp>
        <p:nvCxnSpPr>
          <p:cNvPr id="32" name="Straight Arrow Connector 31">
            <a:extLst>
              <a:ext uri="{FF2B5EF4-FFF2-40B4-BE49-F238E27FC236}">
                <a16:creationId xmlns:a16="http://schemas.microsoft.com/office/drawing/2014/main" id="{6FBEF8E0-4F36-415D-A701-1082466C2033}"/>
              </a:ext>
            </a:extLst>
          </p:cNvPr>
          <p:cNvCxnSpPr>
            <a:stCxn id="20" idx="6"/>
            <a:endCxn id="21" idx="2"/>
          </p:cNvCxnSpPr>
          <p:nvPr/>
        </p:nvCxnSpPr>
        <p:spPr>
          <a:xfrm>
            <a:off x="7346473" y="4405213"/>
            <a:ext cx="2591019" cy="15593"/>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3" name="Table 20">
            <a:extLst>
              <a:ext uri="{FF2B5EF4-FFF2-40B4-BE49-F238E27FC236}">
                <a16:creationId xmlns:a16="http://schemas.microsoft.com/office/drawing/2014/main" id="{C1326C75-632B-4ABC-B789-026FD1293747}"/>
              </a:ext>
            </a:extLst>
          </p:cNvPr>
          <p:cNvGraphicFramePr>
            <a:graphicFrameLocks noGrp="1"/>
          </p:cNvGraphicFramePr>
          <p:nvPr>
            <p:extLst>
              <p:ext uri="{D42A27DB-BD31-4B8C-83A1-F6EECF244321}">
                <p14:modId xmlns:p14="http://schemas.microsoft.com/office/powerpoint/2010/main" val="3912247605"/>
              </p:ext>
            </p:extLst>
          </p:nvPr>
        </p:nvGraphicFramePr>
        <p:xfrm>
          <a:off x="8120076" y="4480560"/>
          <a:ext cx="1176324" cy="2194560"/>
        </p:xfrm>
        <a:graphic>
          <a:graphicData uri="http://schemas.openxmlformats.org/drawingml/2006/table">
            <a:tbl>
              <a:tblPr firstRow="1" bandRow="1">
                <a:tableStyleId>{5940675A-B579-460E-94D1-54222C63F5DA}</a:tableStyleId>
              </a:tblPr>
              <a:tblGrid>
                <a:gridCol w="1176324">
                  <a:extLst>
                    <a:ext uri="{9D8B030D-6E8A-4147-A177-3AD203B41FA5}">
                      <a16:colId xmlns:a16="http://schemas.microsoft.com/office/drawing/2014/main" val="2745983116"/>
                    </a:ext>
                  </a:extLst>
                </a:gridCol>
              </a:tblGrid>
              <a:tr h="159192">
                <a:tc>
                  <a:txBody>
                    <a:bodyPr/>
                    <a:lstStyle/>
                    <a:p>
                      <a:r>
                        <a:rPr lang="en-GB" sz="1200" b="1" dirty="0"/>
                        <a:t>Attributes</a:t>
                      </a:r>
                      <a:endParaRPr lang="en-ZA" sz="1200" b="1" dirty="0"/>
                    </a:p>
                  </a:txBody>
                  <a:tcPr/>
                </a:tc>
                <a:extLst>
                  <a:ext uri="{0D108BD9-81ED-4DB2-BD59-A6C34878D82A}">
                    <a16:rowId xmlns:a16="http://schemas.microsoft.com/office/drawing/2014/main" val="579934363"/>
                  </a:ext>
                </a:extLst>
              </a:tr>
              <a:tr h="159192">
                <a:tc>
                  <a:txBody>
                    <a:bodyPr/>
                    <a:lstStyle/>
                    <a:p>
                      <a:r>
                        <a:rPr lang="en-GB" sz="1200" dirty="0" err="1"/>
                        <a:t>TxTp</a:t>
                      </a:r>
                      <a:endParaRPr lang="en-ZA" sz="1200" dirty="0"/>
                    </a:p>
                  </a:txBody>
                  <a:tcPr/>
                </a:tc>
                <a:extLst>
                  <a:ext uri="{0D108BD9-81ED-4DB2-BD59-A6C34878D82A}">
                    <a16:rowId xmlns:a16="http://schemas.microsoft.com/office/drawing/2014/main" val="2508267144"/>
                  </a:ext>
                </a:extLst>
              </a:tr>
              <a:tr h="159192">
                <a:tc>
                  <a:txBody>
                    <a:bodyPr/>
                    <a:lstStyle/>
                    <a:p>
                      <a:r>
                        <a:rPr lang="en-GB" sz="1200" dirty="0" err="1"/>
                        <a:t>MsgId</a:t>
                      </a:r>
                      <a:endParaRPr lang="en-ZA" sz="1200" dirty="0"/>
                    </a:p>
                  </a:txBody>
                  <a:tcPr/>
                </a:tc>
                <a:extLst>
                  <a:ext uri="{0D108BD9-81ED-4DB2-BD59-A6C34878D82A}">
                    <a16:rowId xmlns:a16="http://schemas.microsoft.com/office/drawing/2014/main" val="117431250"/>
                  </a:ext>
                </a:extLst>
              </a:tr>
              <a:tr h="159192">
                <a:tc>
                  <a:txBody>
                    <a:bodyPr/>
                    <a:lstStyle/>
                    <a:p>
                      <a:r>
                        <a:rPr lang="en-GB" sz="1200" dirty="0" err="1"/>
                        <a:t>CreDtTm</a:t>
                      </a:r>
                      <a:endParaRPr lang="en-ZA" sz="1200" dirty="0"/>
                    </a:p>
                  </a:txBody>
                  <a:tcPr/>
                </a:tc>
                <a:extLst>
                  <a:ext uri="{0D108BD9-81ED-4DB2-BD59-A6C34878D82A}">
                    <a16:rowId xmlns:a16="http://schemas.microsoft.com/office/drawing/2014/main" val="4234182270"/>
                  </a:ext>
                </a:extLst>
              </a:tr>
              <a:tr h="159192">
                <a:tc>
                  <a:txBody>
                    <a:bodyPr/>
                    <a:lstStyle/>
                    <a:p>
                      <a:r>
                        <a:rPr lang="en-GB" sz="1200" dirty="0"/>
                        <a:t>Amt</a:t>
                      </a:r>
                      <a:endParaRPr lang="en-ZA" sz="1200" dirty="0"/>
                    </a:p>
                  </a:txBody>
                  <a:tcPr/>
                </a:tc>
                <a:extLst>
                  <a:ext uri="{0D108BD9-81ED-4DB2-BD59-A6C34878D82A}">
                    <a16:rowId xmlns:a16="http://schemas.microsoft.com/office/drawing/2014/main" val="392444439"/>
                  </a:ext>
                </a:extLst>
              </a:tr>
              <a:tr h="159192">
                <a:tc>
                  <a:txBody>
                    <a:bodyPr/>
                    <a:lstStyle/>
                    <a:p>
                      <a:r>
                        <a:rPr lang="en-GB" sz="1200" dirty="0"/>
                        <a:t>Ccy</a:t>
                      </a:r>
                      <a:endParaRPr lang="en-ZA" sz="1200" dirty="0"/>
                    </a:p>
                  </a:txBody>
                  <a:tcPr/>
                </a:tc>
                <a:extLst>
                  <a:ext uri="{0D108BD9-81ED-4DB2-BD59-A6C34878D82A}">
                    <a16:rowId xmlns:a16="http://schemas.microsoft.com/office/drawing/2014/main" val="485401192"/>
                  </a:ext>
                </a:extLst>
              </a:tr>
              <a:tr h="159192">
                <a:tc>
                  <a:txBody>
                    <a:bodyPr/>
                    <a:lstStyle/>
                    <a:p>
                      <a:r>
                        <a:rPr lang="en-GB" sz="1200" dirty="0" err="1"/>
                        <a:t>PmtInfId</a:t>
                      </a:r>
                      <a:endParaRPr lang="en-ZA" sz="1200" dirty="0"/>
                    </a:p>
                  </a:txBody>
                  <a:tcPr/>
                </a:tc>
                <a:extLst>
                  <a:ext uri="{0D108BD9-81ED-4DB2-BD59-A6C34878D82A}">
                    <a16:rowId xmlns:a16="http://schemas.microsoft.com/office/drawing/2014/main" val="1044720067"/>
                  </a:ext>
                </a:extLst>
              </a:tr>
              <a:tr h="159192">
                <a:tc>
                  <a:txBody>
                    <a:bodyPr/>
                    <a:lstStyle/>
                    <a:p>
                      <a:r>
                        <a:rPr lang="en-GB" sz="1200" dirty="0" err="1"/>
                        <a:t>EndToEndId</a:t>
                      </a:r>
                      <a:endParaRPr lang="en-ZA" sz="1200" dirty="0"/>
                    </a:p>
                  </a:txBody>
                  <a:tcPr/>
                </a:tc>
                <a:extLst>
                  <a:ext uri="{0D108BD9-81ED-4DB2-BD59-A6C34878D82A}">
                    <a16:rowId xmlns:a16="http://schemas.microsoft.com/office/drawing/2014/main" val="2667368940"/>
                  </a:ext>
                </a:extLst>
              </a:tr>
            </a:tbl>
          </a:graphicData>
        </a:graphic>
      </p:graphicFrame>
      <p:sp>
        <p:nvSpPr>
          <p:cNvPr id="34" name="TextBox 33">
            <a:extLst>
              <a:ext uri="{FF2B5EF4-FFF2-40B4-BE49-F238E27FC236}">
                <a16:creationId xmlns:a16="http://schemas.microsoft.com/office/drawing/2014/main" id="{32378286-754F-4A23-8A3B-F54C1D2537BC}"/>
              </a:ext>
            </a:extLst>
          </p:cNvPr>
          <p:cNvSpPr txBox="1"/>
          <p:nvPr/>
        </p:nvSpPr>
        <p:spPr>
          <a:xfrm>
            <a:off x="8038528" y="4144708"/>
            <a:ext cx="1172116" cy="246221"/>
          </a:xfrm>
          <a:prstGeom prst="rect">
            <a:avLst/>
          </a:prstGeom>
          <a:noFill/>
        </p:spPr>
        <p:txBody>
          <a:bodyPr wrap="none" rtlCol="0">
            <a:spAutoFit/>
          </a:bodyPr>
          <a:lstStyle/>
          <a:p>
            <a:r>
              <a:rPr lang="en-GB" sz="1000" b="1" dirty="0">
                <a:solidFill>
                  <a:schemeClr val="tx1">
                    <a:lumMod val="50000"/>
                    <a:lumOff val="50000"/>
                  </a:schemeClr>
                </a:solidFill>
                <a:latin typeface="Consolas" panose="020B0609020204030204" pitchFamily="49" charset="0"/>
              </a:rPr>
              <a:t>{transactions}</a:t>
            </a:r>
            <a:endParaRPr lang="en-ZA" sz="1000" b="1" dirty="0">
              <a:solidFill>
                <a:schemeClr val="tx1">
                  <a:lumMod val="50000"/>
                  <a:lumOff val="50000"/>
                </a:schemeClr>
              </a:solidFill>
              <a:latin typeface="Consolas" panose="020B0609020204030204" pitchFamily="49" charset="0"/>
            </a:endParaRPr>
          </a:p>
        </p:txBody>
      </p:sp>
      <p:sp>
        <p:nvSpPr>
          <p:cNvPr id="35" name="TextBox 34">
            <a:extLst>
              <a:ext uri="{FF2B5EF4-FFF2-40B4-BE49-F238E27FC236}">
                <a16:creationId xmlns:a16="http://schemas.microsoft.com/office/drawing/2014/main" id="{2423012F-2749-4DA8-A237-E4FD942BF96D}"/>
              </a:ext>
            </a:extLst>
          </p:cNvPr>
          <p:cNvSpPr txBox="1"/>
          <p:nvPr/>
        </p:nvSpPr>
        <p:spPr>
          <a:xfrm>
            <a:off x="6428541" y="3731436"/>
            <a:ext cx="889987" cy="246221"/>
          </a:xfrm>
          <a:prstGeom prst="rect">
            <a:avLst/>
          </a:prstGeom>
          <a:noFill/>
        </p:spPr>
        <p:txBody>
          <a:bodyPr wrap="none" rtlCol="0">
            <a:spAutoFit/>
          </a:bodyPr>
          <a:lstStyle/>
          <a:p>
            <a:r>
              <a:rPr lang="en-GB" sz="1000" b="1" dirty="0">
                <a:solidFill>
                  <a:schemeClr val="tx1">
                    <a:lumMod val="50000"/>
                    <a:lumOff val="50000"/>
                  </a:schemeClr>
                </a:solidFill>
                <a:latin typeface="Consolas" panose="020B0609020204030204" pitchFamily="49" charset="0"/>
              </a:rPr>
              <a:t>{accounts}</a:t>
            </a:r>
            <a:endParaRPr lang="en-ZA" sz="1000" b="1" dirty="0">
              <a:solidFill>
                <a:schemeClr val="tx1">
                  <a:lumMod val="50000"/>
                  <a:lumOff val="50000"/>
                </a:schemeClr>
              </a:solidFill>
              <a:latin typeface="Consolas" panose="020B0609020204030204" pitchFamily="49" charset="0"/>
            </a:endParaRPr>
          </a:p>
        </p:txBody>
      </p:sp>
      <p:sp>
        <p:nvSpPr>
          <p:cNvPr id="36" name="TextBox 35">
            <a:extLst>
              <a:ext uri="{FF2B5EF4-FFF2-40B4-BE49-F238E27FC236}">
                <a16:creationId xmlns:a16="http://schemas.microsoft.com/office/drawing/2014/main" id="{6B57F4DA-025E-4E94-BFD8-E731DEB516F6}"/>
              </a:ext>
            </a:extLst>
          </p:cNvPr>
          <p:cNvSpPr txBox="1"/>
          <p:nvPr/>
        </p:nvSpPr>
        <p:spPr>
          <a:xfrm>
            <a:off x="9920632" y="3696844"/>
            <a:ext cx="889987" cy="246221"/>
          </a:xfrm>
          <a:prstGeom prst="rect">
            <a:avLst/>
          </a:prstGeom>
          <a:noFill/>
        </p:spPr>
        <p:txBody>
          <a:bodyPr wrap="none" rtlCol="0">
            <a:spAutoFit/>
          </a:bodyPr>
          <a:lstStyle/>
          <a:p>
            <a:r>
              <a:rPr lang="en-GB" sz="1000" b="1" dirty="0">
                <a:solidFill>
                  <a:schemeClr val="tx1">
                    <a:lumMod val="50000"/>
                    <a:lumOff val="50000"/>
                  </a:schemeClr>
                </a:solidFill>
                <a:latin typeface="Consolas" panose="020B0609020204030204" pitchFamily="49" charset="0"/>
              </a:rPr>
              <a:t>{accounts}</a:t>
            </a:r>
            <a:endParaRPr lang="en-ZA" sz="1000" b="1" dirty="0">
              <a:solidFill>
                <a:schemeClr val="tx1">
                  <a:lumMod val="50000"/>
                  <a:lumOff val="50000"/>
                </a:schemeClr>
              </a:solidFill>
              <a:latin typeface="Consolas" panose="020B0609020204030204" pitchFamily="49" charset="0"/>
            </a:endParaRPr>
          </a:p>
        </p:txBody>
      </p:sp>
      <p:sp>
        <p:nvSpPr>
          <p:cNvPr id="37" name="TextBox 36">
            <a:extLst>
              <a:ext uri="{FF2B5EF4-FFF2-40B4-BE49-F238E27FC236}">
                <a16:creationId xmlns:a16="http://schemas.microsoft.com/office/drawing/2014/main" id="{3DF87A22-9CAE-43CE-A7BB-2D71D247AAAC}"/>
              </a:ext>
            </a:extLst>
          </p:cNvPr>
          <p:cNvSpPr txBox="1"/>
          <p:nvPr/>
        </p:nvSpPr>
        <p:spPr>
          <a:xfrm>
            <a:off x="6428541" y="587997"/>
            <a:ext cx="889987" cy="246221"/>
          </a:xfrm>
          <a:prstGeom prst="rect">
            <a:avLst/>
          </a:prstGeom>
          <a:noFill/>
        </p:spPr>
        <p:txBody>
          <a:bodyPr wrap="none" rtlCol="0">
            <a:spAutoFit/>
          </a:bodyPr>
          <a:lstStyle/>
          <a:p>
            <a:r>
              <a:rPr lang="en-GB" sz="1000" b="1" dirty="0">
                <a:solidFill>
                  <a:schemeClr val="tx1">
                    <a:lumMod val="50000"/>
                    <a:lumOff val="50000"/>
                  </a:schemeClr>
                </a:solidFill>
                <a:latin typeface="Consolas" panose="020B0609020204030204" pitchFamily="49" charset="0"/>
              </a:rPr>
              <a:t>{entities}</a:t>
            </a:r>
            <a:endParaRPr lang="en-ZA" sz="1000" b="1" dirty="0">
              <a:solidFill>
                <a:schemeClr val="tx1">
                  <a:lumMod val="50000"/>
                  <a:lumOff val="50000"/>
                </a:schemeClr>
              </a:solidFill>
              <a:latin typeface="Consolas" panose="020B0609020204030204" pitchFamily="49" charset="0"/>
            </a:endParaRPr>
          </a:p>
        </p:txBody>
      </p:sp>
      <p:sp>
        <p:nvSpPr>
          <p:cNvPr id="38" name="TextBox 37">
            <a:extLst>
              <a:ext uri="{FF2B5EF4-FFF2-40B4-BE49-F238E27FC236}">
                <a16:creationId xmlns:a16="http://schemas.microsoft.com/office/drawing/2014/main" id="{09092C04-0497-4DC5-9A2B-AF0EEEF6C527}"/>
              </a:ext>
            </a:extLst>
          </p:cNvPr>
          <p:cNvSpPr txBox="1"/>
          <p:nvPr/>
        </p:nvSpPr>
        <p:spPr>
          <a:xfrm>
            <a:off x="9929475" y="596175"/>
            <a:ext cx="889987" cy="246221"/>
          </a:xfrm>
          <a:prstGeom prst="rect">
            <a:avLst/>
          </a:prstGeom>
          <a:noFill/>
        </p:spPr>
        <p:txBody>
          <a:bodyPr wrap="none" rtlCol="0">
            <a:spAutoFit/>
          </a:bodyPr>
          <a:lstStyle/>
          <a:p>
            <a:r>
              <a:rPr lang="en-GB" sz="1000" b="1" dirty="0">
                <a:solidFill>
                  <a:schemeClr val="tx1">
                    <a:lumMod val="50000"/>
                    <a:lumOff val="50000"/>
                  </a:schemeClr>
                </a:solidFill>
                <a:latin typeface="Consolas" panose="020B0609020204030204" pitchFamily="49" charset="0"/>
              </a:rPr>
              <a:t>{entities}</a:t>
            </a:r>
            <a:endParaRPr lang="en-ZA" sz="1000" b="1" dirty="0">
              <a:solidFill>
                <a:schemeClr val="tx1">
                  <a:lumMod val="50000"/>
                  <a:lumOff val="50000"/>
                </a:schemeClr>
              </a:solidFill>
              <a:latin typeface="Consolas" panose="020B0609020204030204" pitchFamily="49" charset="0"/>
            </a:endParaRPr>
          </a:p>
        </p:txBody>
      </p:sp>
      <p:cxnSp>
        <p:nvCxnSpPr>
          <p:cNvPr id="39" name="Straight Arrow Connector 38">
            <a:extLst>
              <a:ext uri="{FF2B5EF4-FFF2-40B4-BE49-F238E27FC236}">
                <a16:creationId xmlns:a16="http://schemas.microsoft.com/office/drawing/2014/main" id="{9F36969E-8D5F-4E0C-A699-40A8BFFDE1F1}"/>
              </a:ext>
            </a:extLst>
          </p:cNvPr>
          <p:cNvCxnSpPr>
            <a:cxnSpLocks/>
            <a:stCxn id="8" idx="4"/>
            <a:endCxn id="20" idx="0"/>
          </p:cNvCxnSpPr>
          <p:nvPr/>
        </p:nvCxnSpPr>
        <p:spPr>
          <a:xfrm>
            <a:off x="6888196" y="1750070"/>
            <a:ext cx="8277" cy="2205143"/>
          </a:xfrm>
          <a:prstGeom prst="straightConnector1">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2939936-B4AA-48AC-9631-CE17410C8C01}"/>
              </a:ext>
            </a:extLst>
          </p:cNvPr>
          <p:cNvCxnSpPr>
            <a:cxnSpLocks/>
            <a:stCxn id="9" idx="4"/>
            <a:endCxn id="21" idx="0"/>
          </p:cNvCxnSpPr>
          <p:nvPr/>
        </p:nvCxnSpPr>
        <p:spPr>
          <a:xfrm>
            <a:off x="10379475" y="1750070"/>
            <a:ext cx="8017" cy="2220736"/>
          </a:xfrm>
          <a:prstGeom prst="straightConnector1">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D099FE30-883A-4F50-8FC8-25552C8874E6}"/>
              </a:ext>
            </a:extLst>
          </p:cNvPr>
          <p:cNvSpPr txBox="1"/>
          <p:nvPr/>
        </p:nvSpPr>
        <p:spPr>
          <a:xfrm>
            <a:off x="6827709" y="2602157"/>
            <a:ext cx="1313180" cy="246221"/>
          </a:xfrm>
          <a:prstGeom prst="rect">
            <a:avLst/>
          </a:prstGeom>
          <a:noFill/>
        </p:spPr>
        <p:txBody>
          <a:bodyPr wrap="none" rtlCol="0">
            <a:spAutoFit/>
          </a:bodyPr>
          <a:lstStyle/>
          <a:p>
            <a:r>
              <a:rPr lang="en-GB" sz="1000" b="1" dirty="0">
                <a:solidFill>
                  <a:schemeClr val="tx1">
                    <a:lumMod val="50000"/>
                    <a:lumOff val="50000"/>
                  </a:schemeClr>
                </a:solidFill>
                <a:latin typeface="Consolas" panose="020B0609020204030204" pitchFamily="49" charset="0"/>
              </a:rPr>
              <a:t>{</a:t>
            </a:r>
            <a:r>
              <a:rPr lang="en-GB" sz="1000" b="1" dirty="0" err="1">
                <a:solidFill>
                  <a:schemeClr val="tx1">
                    <a:lumMod val="50000"/>
                    <a:lumOff val="50000"/>
                  </a:schemeClr>
                </a:solidFill>
                <a:latin typeface="Consolas" panose="020B0609020204030204" pitchFamily="49" charset="0"/>
              </a:rPr>
              <a:t>account_holder</a:t>
            </a:r>
            <a:r>
              <a:rPr lang="en-GB" sz="1000" b="1" dirty="0">
                <a:solidFill>
                  <a:schemeClr val="tx1">
                    <a:lumMod val="50000"/>
                    <a:lumOff val="50000"/>
                  </a:schemeClr>
                </a:solidFill>
                <a:latin typeface="Consolas" panose="020B0609020204030204" pitchFamily="49" charset="0"/>
              </a:rPr>
              <a:t>}</a:t>
            </a:r>
            <a:endParaRPr lang="en-ZA" sz="1000" b="1" dirty="0">
              <a:solidFill>
                <a:schemeClr val="tx1">
                  <a:lumMod val="50000"/>
                  <a:lumOff val="50000"/>
                </a:schemeClr>
              </a:solidFill>
              <a:latin typeface="Consolas" panose="020B0609020204030204" pitchFamily="49" charset="0"/>
            </a:endParaRPr>
          </a:p>
        </p:txBody>
      </p:sp>
      <p:sp>
        <p:nvSpPr>
          <p:cNvPr id="42" name="TextBox 41">
            <a:extLst>
              <a:ext uri="{FF2B5EF4-FFF2-40B4-BE49-F238E27FC236}">
                <a16:creationId xmlns:a16="http://schemas.microsoft.com/office/drawing/2014/main" id="{38FA6D33-B1D5-4D87-9511-89298A02CC43}"/>
              </a:ext>
            </a:extLst>
          </p:cNvPr>
          <p:cNvSpPr txBox="1"/>
          <p:nvPr/>
        </p:nvSpPr>
        <p:spPr>
          <a:xfrm>
            <a:off x="10301181" y="2614217"/>
            <a:ext cx="1313180" cy="246221"/>
          </a:xfrm>
          <a:prstGeom prst="rect">
            <a:avLst/>
          </a:prstGeom>
          <a:noFill/>
        </p:spPr>
        <p:txBody>
          <a:bodyPr wrap="none" rtlCol="0">
            <a:spAutoFit/>
          </a:bodyPr>
          <a:lstStyle/>
          <a:p>
            <a:r>
              <a:rPr lang="en-GB" sz="1000" b="1" dirty="0">
                <a:solidFill>
                  <a:schemeClr val="tx1">
                    <a:lumMod val="50000"/>
                    <a:lumOff val="50000"/>
                  </a:schemeClr>
                </a:solidFill>
                <a:latin typeface="Consolas" panose="020B0609020204030204" pitchFamily="49" charset="0"/>
              </a:rPr>
              <a:t>{</a:t>
            </a:r>
            <a:r>
              <a:rPr lang="en-GB" sz="1000" b="1" dirty="0" err="1">
                <a:solidFill>
                  <a:schemeClr val="tx1">
                    <a:lumMod val="50000"/>
                    <a:lumOff val="50000"/>
                  </a:schemeClr>
                </a:solidFill>
                <a:latin typeface="Consolas" panose="020B0609020204030204" pitchFamily="49" charset="0"/>
              </a:rPr>
              <a:t>account_holder</a:t>
            </a:r>
            <a:r>
              <a:rPr lang="en-GB" sz="1000" b="1" dirty="0">
                <a:solidFill>
                  <a:schemeClr val="tx1">
                    <a:lumMod val="50000"/>
                    <a:lumOff val="50000"/>
                  </a:schemeClr>
                </a:solidFill>
                <a:latin typeface="Consolas" panose="020B0609020204030204" pitchFamily="49" charset="0"/>
              </a:rPr>
              <a:t>}</a:t>
            </a:r>
            <a:endParaRPr lang="en-ZA" sz="1000" b="1" dirty="0">
              <a:solidFill>
                <a:schemeClr val="tx1">
                  <a:lumMod val="50000"/>
                  <a:lumOff val="50000"/>
                </a:schemeClr>
              </a:solidFill>
              <a:latin typeface="Consolas" panose="020B0609020204030204" pitchFamily="49" charset="0"/>
            </a:endParaRPr>
          </a:p>
        </p:txBody>
      </p:sp>
      <p:graphicFrame>
        <p:nvGraphicFramePr>
          <p:cNvPr id="43" name="Table 20">
            <a:extLst>
              <a:ext uri="{FF2B5EF4-FFF2-40B4-BE49-F238E27FC236}">
                <a16:creationId xmlns:a16="http://schemas.microsoft.com/office/drawing/2014/main" id="{7C50D508-945B-4931-B955-CE61EA47473A}"/>
              </a:ext>
            </a:extLst>
          </p:cNvPr>
          <p:cNvGraphicFramePr>
            <a:graphicFrameLocks noGrp="1"/>
          </p:cNvGraphicFramePr>
          <p:nvPr>
            <p:extLst>
              <p:ext uri="{D42A27DB-BD31-4B8C-83A1-F6EECF244321}">
                <p14:modId xmlns:p14="http://schemas.microsoft.com/office/powerpoint/2010/main" val="2214276273"/>
              </p:ext>
            </p:extLst>
          </p:nvPr>
        </p:nvGraphicFramePr>
        <p:xfrm>
          <a:off x="6978256" y="2895787"/>
          <a:ext cx="1095979" cy="548640"/>
        </p:xfrm>
        <a:graphic>
          <a:graphicData uri="http://schemas.openxmlformats.org/drawingml/2006/table">
            <a:tbl>
              <a:tblPr firstRow="1" bandRow="1">
                <a:tableStyleId>{5940675A-B579-460E-94D1-54222C63F5DA}</a:tableStyleId>
              </a:tblPr>
              <a:tblGrid>
                <a:gridCol w="1095979">
                  <a:extLst>
                    <a:ext uri="{9D8B030D-6E8A-4147-A177-3AD203B41FA5}">
                      <a16:colId xmlns:a16="http://schemas.microsoft.com/office/drawing/2014/main" val="2745983116"/>
                    </a:ext>
                  </a:extLst>
                </a:gridCol>
              </a:tblGrid>
              <a:tr h="159192">
                <a:tc>
                  <a:txBody>
                    <a:bodyPr/>
                    <a:lstStyle/>
                    <a:p>
                      <a:r>
                        <a:rPr lang="en-GB" sz="1200" b="1" dirty="0"/>
                        <a:t>Attributes</a:t>
                      </a:r>
                      <a:endParaRPr lang="en-ZA" sz="1200" b="1" dirty="0"/>
                    </a:p>
                  </a:txBody>
                  <a:tcPr/>
                </a:tc>
                <a:extLst>
                  <a:ext uri="{0D108BD9-81ED-4DB2-BD59-A6C34878D82A}">
                    <a16:rowId xmlns:a16="http://schemas.microsoft.com/office/drawing/2014/main" val="579934363"/>
                  </a:ext>
                </a:extLst>
              </a:tr>
              <a:tr h="159192">
                <a:tc>
                  <a:txBody>
                    <a:bodyPr/>
                    <a:lstStyle/>
                    <a:p>
                      <a:r>
                        <a:rPr lang="en-GB" sz="1200" dirty="0" err="1"/>
                        <a:t>CreDtTm</a:t>
                      </a:r>
                      <a:endParaRPr lang="en-ZA" sz="1200" dirty="0"/>
                    </a:p>
                  </a:txBody>
                  <a:tcPr/>
                </a:tc>
                <a:extLst>
                  <a:ext uri="{0D108BD9-81ED-4DB2-BD59-A6C34878D82A}">
                    <a16:rowId xmlns:a16="http://schemas.microsoft.com/office/drawing/2014/main" val="2508267144"/>
                  </a:ext>
                </a:extLst>
              </a:tr>
            </a:tbl>
          </a:graphicData>
        </a:graphic>
      </p:graphicFrame>
      <p:graphicFrame>
        <p:nvGraphicFramePr>
          <p:cNvPr id="44" name="Table 20">
            <a:extLst>
              <a:ext uri="{FF2B5EF4-FFF2-40B4-BE49-F238E27FC236}">
                <a16:creationId xmlns:a16="http://schemas.microsoft.com/office/drawing/2014/main" id="{58B876E3-C862-4B6D-95B2-4A15FED344CA}"/>
              </a:ext>
            </a:extLst>
          </p:cNvPr>
          <p:cNvGraphicFramePr>
            <a:graphicFrameLocks noGrp="1"/>
          </p:cNvGraphicFramePr>
          <p:nvPr>
            <p:extLst>
              <p:ext uri="{D42A27DB-BD31-4B8C-83A1-F6EECF244321}">
                <p14:modId xmlns:p14="http://schemas.microsoft.com/office/powerpoint/2010/main" val="523932439"/>
              </p:ext>
            </p:extLst>
          </p:nvPr>
        </p:nvGraphicFramePr>
        <p:xfrm>
          <a:off x="10456843" y="2895787"/>
          <a:ext cx="1095979" cy="548640"/>
        </p:xfrm>
        <a:graphic>
          <a:graphicData uri="http://schemas.openxmlformats.org/drawingml/2006/table">
            <a:tbl>
              <a:tblPr firstRow="1" bandRow="1">
                <a:tableStyleId>{5940675A-B579-460E-94D1-54222C63F5DA}</a:tableStyleId>
              </a:tblPr>
              <a:tblGrid>
                <a:gridCol w="1095979">
                  <a:extLst>
                    <a:ext uri="{9D8B030D-6E8A-4147-A177-3AD203B41FA5}">
                      <a16:colId xmlns:a16="http://schemas.microsoft.com/office/drawing/2014/main" val="2745983116"/>
                    </a:ext>
                  </a:extLst>
                </a:gridCol>
              </a:tblGrid>
              <a:tr h="159192">
                <a:tc>
                  <a:txBody>
                    <a:bodyPr/>
                    <a:lstStyle/>
                    <a:p>
                      <a:r>
                        <a:rPr lang="en-GB" sz="1200" b="1" dirty="0"/>
                        <a:t>Attributes</a:t>
                      </a:r>
                      <a:endParaRPr lang="en-ZA" sz="1200" b="1" dirty="0"/>
                    </a:p>
                  </a:txBody>
                  <a:tcPr/>
                </a:tc>
                <a:extLst>
                  <a:ext uri="{0D108BD9-81ED-4DB2-BD59-A6C34878D82A}">
                    <a16:rowId xmlns:a16="http://schemas.microsoft.com/office/drawing/2014/main" val="579934363"/>
                  </a:ext>
                </a:extLst>
              </a:tr>
              <a:tr h="159192">
                <a:tc>
                  <a:txBody>
                    <a:bodyPr/>
                    <a:lstStyle/>
                    <a:p>
                      <a:r>
                        <a:rPr lang="en-GB" sz="1200" dirty="0" err="1"/>
                        <a:t>CreDtTm</a:t>
                      </a:r>
                      <a:endParaRPr lang="en-ZA" sz="1200" dirty="0"/>
                    </a:p>
                  </a:txBody>
                  <a:tcPr/>
                </a:tc>
                <a:extLst>
                  <a:ext uri="{0D108BD9-81ED-4DB2-BD59-A6C34878D82A}">
                    <a16:rowId xmlns:a16="http://schemas.microsoft.com/office/drawing/2014/main" val="2508267144"/>
                  </a:ext>
                </a:extLst>
              </a:tr>
            </a:tbl>
          </a:graphicData>
        </a:graphic>
      </p:graphicFrame>
      <p:sp>
        <p:nvSpPr>
          <p:cNvPr id="11" name="Oval 10">
            <a:extLst>
              <a:ext uri="{FF2B5EF4-FFF2-40B4-BE49-F238E27FC236}">
                <a16:creationId xmlns:a16="http://schemas.microsoft.com/office/drawing/2014/main" id="{CF02EF40-4E66-4D05-8BBB-C6A125FCFDB0}"/>
              </a:ext>
            </a:extLst>
          </p:cNvPr>
          <p:cNvSpPr/>
          <p:nvPr/>
        </p:nvSpPr>
        <p:spPr>
          <a:xfrm>
            <a:off x="2513760" y="2135928"/>
            <a:ext cx="216024" cy="21600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3" name="Oval 12">
            <a:extLst>
              <a:ext uri="{FF2B5EF4-FFF2-40B4-BE49-F238E27FC236}">
                <a16:creationId xmlns:a16="http://schemas.microsoft.com/office/drawing/2014/main" id="{79E437D8-13DD-49E4-9B6B-400747EAAFE3}"/>
              </a:ext>
            </a:extLst>
          </p:cNvPr>
          <p:cNvSpPr/>
          <p:nvPr/>
        </p:nvSpPr>
        <p:spPr>
          <a:xfrm>
            <a:off x="2744070" y="3394783"/>
            <a:ext cx="216024" cy="21600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5" name="Oval 14">
            <a:extLst>
              <a:ext uri="{FF2B5EF4-FFF2-40B4-BE49-F238E27FC236}">
                <a16:creationId xmlns:a16="http://schemas.microsoft.com/office/drawing/2014/main" id="{095DAA65-4102-4713-9580-296760C7F5CB}"/>
              </a:ext>
            </a:extLst>
          </p:cNvPr>
          <p:cNvSpPr/>
          <p:nvPr/>
        </p:nvSpPr>
        <p:spPr>
          <a:xfrm>
            <a:off x="4466420" y="2385803"/>
            <a:ext cx="216024" cy="21600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6" name="Oval 15">
            <a:extLst>
              <a:ext uri="{FF2B5EF4-FFF2-40B4-BE49-F238E27FC236}">
                <a16:creationId xmlns:a16="http://schemas.microsoft.com/office/drawing/2014/main" id="{120BF5F9-C195-4BA7-823B-FFBF7B9AED7B}"/>
              </a:ext>
            </a:extLst>
          </p:cNvPr>
          <p:cNvSpPr/>
          <p:nvPr/>
        </p:nvSpPr>
        <p:spPr>
          <a:xfrm>
            <a:off x="4696730" y="3644658"/>
            <a:ext cx="216024" cy="21600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59" name="Oval 58">
            <a:extLst>
              <a:ext uri="{FF2B5EF4-FFF2-40B4-BE49-F238E27FC236}">
                <a16:creationId xmlns:a16="http://schemas.microsoft.com/office/drawing/2014/main" id="{B636EFA1-38D0-4DA1-B140-3EB50753B752}"/>
              </a:ext>
            </a:extLst>
          </p:cNvPr>
          <p:cNvSpPr/>
          <p:nvPr/>
        </p:nvSpPr>
        <p:spPr>
          <a:xfrm>
            <a:off x="1638819" y="2365966"/>
            <a:ext cx="252000" cy="252000"/>
          </a:xfrm>
          <a:prstGeom prst="ellipse">
            <a:avLst/>
          </a:prstGeom>
          <a:noFill/>
          <a:ln>
            <a:solidFill>
              <a:schemeClr val="accent4"/>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ZA"/>
          </a:p>
        </p:txBody>
      </p:sp>
      <p:sp>
        <p:nvSpPr>
          <p:cNvPr id="62" name="Oval 61">
            <a:extLst>
              <a:ext uri="{FF2B5EF4-FFF2-40B4-BE49-F238E27FC236}">
                <a16:creationId xmlns:a16="http://schemas.microsoft.com/office/drawing/2014/main" id="{442D4EA7-FA97-441A-BF5C-9ECBFAD05204}"/>
              </a:ext>
            </a:extLst>
          </p:cNvPr>
          <p:cNvSpPr/>
          <p:nvPr/>
        </p:nvSpPr>
        <p:spPr>
          <a:xfrm>
            <a:off x="1620389" y="2347116"/>
            <a:ext cx="288000" cy="28800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cxnSp>
        <p:nvCxnSpPr>
          <p:cNvPr id="10" name="Straight Arrow Connector 9">
            <a:extLst>
              <a:ext uri="{FF2B5EF4-FFF2-40B4-BE49-F238E27FC236}">
                <a16:creationId xmlns:a16="http://schemas.microsoft.com/office/drawing/2014/main" id="{7E571254-51C7-4CB2-B837-76EA34573DD6}"/>
              </a:ext>
            </a:extLst>
          </p:cNvPr>
          <p:cNvCxnSpPr>
            <a:cxnSpLocks/>
            <a:stCxn id="11" idx="6"/>
            <a:endCxn id="8" idx="2"/>
          </p:cNvCxnSpPr>
          <p:nvPr/>
        </p:nvCxnSpPr>
        <p:spPr>
          <a:xfrm flipV="1">
            <a:off x="2729784" y="1300070"/>
            <a:ext cx="3708412" cy="943858"/>
          </a:xfrm>
          <a:prstGeom prst="straightConnector1">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69CD3B7F-8684-4803-86F9-52E5373640DC}"/>
              </a:ext>
            </a:extLst>
          </p:cNvPr>
          <p:cNvCxnSpPr>
            <a:cxnSpLocks/>
            <a:endCxn id="12" idx="1"/>
          </p:cNvCxnSpPr>
          <p:nvPr/>
        </p:nvCxnSpPr>
        <p:spPr>
          <a:xfrm flipV="1">
            <a:off x="2960094" y="1348732"/>
            <a:ext cx="4500956" cy="2148392"/>
          </a:xfrm>
          <a:prstGeom prst="straightConnector1">
            <a:avLst/>
          </a:prstGeom>
          <a:ln>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71080508-A0BD-4ED1-B000-3A4796169773}"/>
              </a:ext>
            </a:extLst>
          </p:cNvPr>
          <p:cNvCxnSpPr>
            <a:cxnSpLocks/>
            <a:stCxn id="15" idx="6"/>
            <a:endCxn id="9" idx="2"/>
          </p:cNvCxnSpPr>
          <p:nvPr/>
        </p:nvCxnSpPr>
        <p:spPr>
          <a:xfrm flipV="1">
            <a:off x="4682444" y="1300070"/>
            <a:ext cx="5247031" cy="1193733"/>
          </a:xfrm>
          <a:prstGeom prst="straightConnector1">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9FE1701-4CB3-4006-AEEF-BE771A625E77}"/>
              </a:ext>
            </a:extLst>
          </p:cNvPr>
          <p:cNvCxnSpPr>
            <a:cxnSpLocks/>
            <a:stCxn id="16" idx="6"/>
            <a:endCxn id="17" idx="1"/>
          </p:cNvCxnSpPr>
          <p:nvPr/>
        </p:nvCxnSpPr>
        <p:spPr>
          <a:xfrm flipV="1">
            <a:off x="4912754" y="1331897"/>
            <a:ext cx="6043575" cy="2420761"/>
          </a:xfrm>
          <a:prstGeom prst="straightConnector1">
            <a:avLst/>
          </a:prstGeom>
          <a:ln>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BE289AA0-A324-4F13-9F4A-888545FDAE76}"/>
              </a:ext>
            </a:extLst>
          </p:cNvPr>
          <p:cNvCxnSpPr>
            <a:cxnSpLocks/>
            <a:stCxn id="59" idx="6"/>
          </p:cNvCxnSpPr>
          <p:nvPr/>
        </p:nvCxnSpPr>
        <p:spPr>
          <a:xfrm>
            <a:off x="1890819" y="2491966"/>
            <a:ext cx="5087437" cy="802681"/>
          </a:xfrm>
          <a:prstGeom prst="straightConnector1">
            <a:avLst/>
          </a:prstGeom>
          <a:ln>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A315BE07-31BB-475F-BF75-698150CB390B}"/>
              </a:ext>
            </a:extLst>
          </p:cNvPr>
          <p:cNvCxnSpPr>
            <a:cxnSpLocks/>
            <a:stCxn id="59" idx="6"/>
          </p:cNvCxnSpPr>
          <p:nvPr/>
        </p:nvCxnSpPr>
        <p:spPr>
          <a:xfrm>
            <a:off x="1890819" y="2491966"/>
            <a:ext cx="8557609" cy="779302"/>
          </a:xfrm>
          <a:prstGeom prst="straightConnector1">
            <a:avLst/>
          </a:prstGeom>
          <a:ln>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6E7027D3-C75E-41C5-86B3-64491BE56FEC}"/>
              </a:ext>
            </a:extLst>
          </p:cNvPr>
          <p:cNvCxnSpPr>
            <a:cxnSpLocks/>
            <a:stCxn id="62" idx="6"/>
          </p:cNvCxnSpPr>
          <p:nvPr/>
        </p:nvCxnSpPr>
        <p:spPr>
          <a:xfrm flipV="1">
            <a:off x="1908389" y="1630446"/>
            <a:ext cx="5552661" cy="860670"/>
          </a:xfrm>
          <a:prstGeom prst="straightConnector1">
            <a:avLst/>
          </a:prstGeom>
          <a:ln>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1294AA74-F77E-4A6D-9701-7A79125F79CC}"/>
              </a:ext>
            </a:extLst>
          </p:cNvPr>
          <p:cNvCxnSpPr>
            <a:cxnSpLocks/>
            <a:stCxn id="62" idx="6"/>
          </p:cNvCxnSpPr>
          <p:nvPr/>
        </p:nvCxnSpPr>
        <p:spPr>
          <a:xfrm flipV="1">
            <a:off x="1908389" y="1612389"/>
            <a:ext cx="9047940" cy="878727"/>
          </a:xfrm>
          <a:prstGeom prst="straightConnector1">
            <a:avLst/>
          </a:prstGeom>
          <a:ln>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5482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72"/>
                                        </p:tgtEl>
                                        <p:attrNameLst>
                                          <p:attrName>style.visibility</p:attrName>
                                        </p:attrNameLst>
                                      </p:cBhvr>
                                      <p:to>
                                        <p:strVal val="visible"/>
                                      </p:to>
                                    </p:set>
                                    <p:animEffect transition="in" filter="wipe(left)">
                                      <p:cBhvr>
                                        <p:cTn id="31" dur="500"/>
                                        <p:tgtEl>
                                          <p:spTgt spid="72"/>
                                        </p:tgtEl>
                                      </p:cBhvr>
                                    </p:animEffect>
                                  </p:childTnLst>
                                </p:cTn>
                              </p:par>
                            </p:childTnLst>
                          </p:cTn>
                        </p:par>
                      </p:childTnLst>
                    </p:cTn>
                  </p:par>
                  <p:par>
                    <p:cTn id="32" fill="hold">
                      <p:stCondLst>
                        <p:cond delay="indefinite"/>
                      </p:stCondLst>
                      <p:childTnLst>
                        <p:par>
                          <p:cTn id="33" fill="hold">
                            <p:stCondLst>
                              <p:cond delay="0"/>
                            </p:stCondLst>
                            <p:childTnLst>
                              <p:par>
                                <p:cTn id="34" presetID="1" presetClass="exit" presetSubtype="0" fill="hold" nodeType="clickEffect">
                                  <p:stCondLst>
                                    <p:cond delay="0"/>
                                  </p:stCondLst>
                                  <p:childTnLst>
                                    <p:set>
                                      <p:cBhvr>
                                        <p:cTn id="35" dur="1" fill="hold">
                                          <p:stCondLst>
                                            <p:cond delay="0"/>
                                          </p:stCondLst>
                                        </p:cTn>
                                        <p:tgtEl>
                                          <p:spTgt spid="77"/>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grpId="0" nodeType="click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par>
                                <p:cTn id="41" presetID="22" presetClass="entr" presetSubtype="1" fill="hold" grpId="0" nodeType="with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wipe(up)">
                                      <p:cBhvr>
                                        <p:cTn id="43" dur="500"/>
                                        <p:tgtEl>
                                          <p:spTgt spid="9"/>
                                        </p:tgtEl>
                                      </p:cBhvr>
                                    </p:animEffect>
                                  </p:childTnLst>
                                </p:cTn>
                              </p:par>
                              <p:par>
                                <p:cTn id="44" presetID="22" presetClass="entr" presetSubtype="1" fill="hold" nodeType="with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wipe(up)">
                                      <p:cBhvr>
                                        <p:cTn id="46" dur="500"/>
                                        <p:tgtEl>
                                          <p:spTgt spid="12"/>
                                        </p:tgtEl>
                                      </p:cBhvr>
                                    </p:animEffect>
                                  </p:childTnLst>
                                </p:cTn>
                              </p:par>
                              <p:par>
                                <p:cTn id="47" presetID="22" presetClass="entr" presetSubtype="1" fill="hold" nodeType="with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wipe(up)">
                                      <p:cBhvr>
                                        <p:cTn id="49" dur="500"/>
                                        <p:tgtEl>
                                          <p:spTgt spid="17"/>
                                        </p:tgtEl>
                                      </p:cBhvr>
                                    </p:animEffect>
                                  </p:childTnLst>
                                </p:cTn>
                              </p:par>
                              <p:par>
                                <p:cTn id="50" presetID="22" presetClass="entr" presetSubtype="1" fill="hold" grpId="0" nodeType="withEffect">
                                  <p:stCondLst>
                                    <p:cond delay="0"/>
                                  </p:stCondLst>
                                  <p:childTnLst>
                                    <p:set>
                                      <p:cBhvr>
                                        <p:cTn id="51" dur="1" fill="hold">
                                          <p:stCondLst>
                                            <p:cond delay="0"/>
                                          </p:stCondLst>
                                        </p:cTn>
                                        <p:tgtEl>
                                          <p:spTgt spid="37"/>
                                        </p:tgtEl>
                                        <p:attrNameLst>
                                          <p:attrName>style.visibility</p:attrName>
                                        </p:attrNameLst>
                                      </p:cBhvr>
                                      <p:to>
                                        <p:strVal val="visible"/>
                                      </p:to>
                                    </p:set>
                                    <p:animEffect transition="in" filter="wipe(up)">
                                      <p:cBhvr>
                                        <p:cTn id="52" dur="500"/>
                                        <p:tgtEl>
                                          <p:spTgt spid="37"/>
                                        </p:tgtEl>
                                      </p:cBhvr>
                                    </p:animEffect>
                                  </p:childTnLst>
                                </p:cTn>
                              </p:par>
                              <p:par>
                                <p:cTn id="53" presetID="22" presetClass="entr" presetSubtype="1" fill="hold" grpId="0" nodeType="withEffect">
                                  <p:stCondLst>
                                    <p:cond delay="0"/>
                                  </p:stCondLst>
                                  <p:childTnLst>
                                    <p:set>
                                      <p:cBhvr>
                                        <p:cTn id="54" dur="1" fill="hold">
                                          <p:stCondLst>
                                            <p:cond delay="0"/>
                                          </p:stCondLst>
                                        </p:cTn>
                                        <p:tgtEl>
                                          <p:spTgt spid="38"/>
                                        </p:tgtEl>
                                        <p:attrNameLst>
                                          <p:attrName>style.visibility</p:attrName>
                                        </p:attrNameLst>
                                      </p:cBhvr>
                                      <p:to>
                                        <p:strVal val="visible"/>
                                      </p:to>
                                    </p:set>
                                    <p:animEffect transition="in" filter="wipe(up)">
                                      <p:cBhvr>
                                        <p:cTn id="55" dur="500"/>
                                        <p:tgtEl>
                                          <p:spTgt spid="38"/>
                                        </p:tgtEl>
                                      </p:cBhvr>
                                    </p:animEffect>
                                  </p:childTnLst>
                                </p:cTn>
                              </p:par>
                              <p:par>
                                <p:cTn id="56" presetID="22" presetClass="entr" presetSubtype="1" fill="hold" nodeType="withEffect">
                                  <p:stCondLst>
                                    <p:cond delay="0"/>
                                  </p:stCondLst>
                                  <p:childTnLst>
                                    <p:set>
                                      <p:cBhvr>
                                        <p:cTn id="57" dur="1" fill="hold">
                                          <p:stCondLst>
                                            <p:cond delay="0"/>
                                          </p:stCondLst>
                                        </p:cTn>
                                        <p:tgtEl>
                                          <p:spTgt spid="39"/>
                                        </p:tgtEl>
                                        <p:attrNameLst>
                                          <p:attrName>style.visibility</p:attrName>
                                        </p:attrNameLst>
                                      </p:cBhvr>
                                      <p:to>
                                        <p:strVal val="visible"/>
                                      </p:to>
                                    </p:set>
                                    <p:animEffect transition="in" filter="wipe(up)">
                                      <p:cBhvr>
                                        <p:cTn id="58" dur="500"/>
                                        <p:tgtEl>
                                          <p:spTgt spid="39"/>
                                        </p:tgtEl>
                                      </p:cBhvr>
                                    </p:animEffect>
                                  </p:childTnLst>
                                </p:cTn>
                              </p:par>
                              <p:par>
                                <p:cTn id="59" presetID="22" presetClass="entr" presetSubtype="1" fill="hold" nodeType="withEffect">
                                  <p:stCondLst>
                                    <p:cond delay="0"/>
                                  </p:stCondLst>
                                  <p:childTnLst>
                                    <p:set>
                                      <p:cBhvr>
                                        <p:cTn id="60" dur="1" fill="hold">
                                          <p:stCondLst>
                                            <p:cond delay="0"/>
                                          </p:stCondLst>
                                        </p:cTn>
                                        <p:tgtEl>
                                          <p:spTgt spid="40"/>
                                        </p:tgtEl>
                                        <p:attrNameLst>
                                          <p:attrName>style.visibility</p:attrName>
                                        </p:attrNameLst>
                                      </p:cBhvr>
                                      <p:to>
                                        <p:strVal val="visible"/>
                                      </p:to>
                                    </p:set>
                                    <p:animEffect transition="in" filter="wipe(up)">
                                      <p:cBhvr>
                                        <p:cTn id="61" dur="500"/>
                                        <p:tgtEl>
                                          <p:spTgt spid="40"/>
                                        </p:tgtEl>
                                      </p:cBhvr>
                                    </p:animEffect>
                                  </p:childTnLst>
                                </p:cTn>
                              </p:par>
                              <p:par>
                                <p:cTn id="62" presetID="22" presetClass="entr" presetSubtype="1" fill="hold" grpId="0" nodeType="withEffect">
                                  <p:stCondLst>
                                    <p:cond delay="0"/>
                                  </p:stCondLst>
                                  <p:childTnLst>
                                    <p:set>
                                      <p:cBhvr>
                                        <p:cTn id="63" dur="1" fill="hold">
                                          <p:stCondLst>
                                            <p:cond delay="0"/>
                                          </p:stCondLst>
                                        </p:cTn>
                                        <p:tgtEl>
                                          <p:spTgt spid="41"/>
                                        </p:tgtEl>
                                        <p:attrNameLst>
                                          <p:attrName>style.visibility</p:attrName>
                                        </p:attrNameLst>
                                      </p:cBhvr>
                                      <p:to>
                                        <p:strVal val="visible"/>
                                      </p:to>
                                    </p:set>
                                    <p:animEffect transition="in" filter="wipe(up)">
                                      <p:cBhvr>
                                        <p:cTn id="64" dur="500"/>
                                        <p:tgtEl>
                                          <p:spTgt spid="41"/>
                                        </p:tgtEl>
                                      </p:cBhvr>
                                    </p:animEffect>
                                  </p:childTnLst>
                                </p:cTn>
                              </p:par>
                              <p:par>
                                <p:cTn id="65" presetID="22" presetClass="entr" presetSubtype="1" fill="hold" grpId="0" nodeType="withEffect">
                                  <p:stCondLst>
                                    <p:cond delay="0"/>
                                  </p:stCondLst>
                                  <p:childTnLst>
                                    <p:set>
                                      <p:cBhvr>
                                        <p:cTn id="66" dur="1" fill="hold">
                                          <p:stCondLst>
                                            <p:cond delay="0"/>
                                          </p:stCondLst>
                                        </p:cTn>
                                        <p:tgtEl>
                                          <p:spTgt spid="42"/>
                                        </p:tgtEl>
                                        <p:attrNameLst>
                                          <p:attrName>style.visibility</p:attrName>
                                        </p:attrNameLst>
                                      </p:cBhvr>
                                      <p:to>
                                        <p:strVal val="visible"/>
                                      </p:to>
                                    </p:set>
                                    <p:animEffect transition="in" filter="wipe(up)">
                                      <p:cBhvr>
                                        <p:cTn id="67" dur="500"/>
                                        <p:tgtEl>
                                          <p:spTgt spid="42"/>
                                        </p:tgtEl>
                                      </p:cBhvr>
                                    </p:animEffect>
                                  </p:childTnLst>
                                </p:cTn>
                              </p:par>
                              <p:par>
                                <p:cTn id="68" presetID="22" presetClass="entr" presetSubtype="1" fill="hold" nodeType="withEffect">
                                  <p:stCondLst>
                                    <p:cond delay="0"/>
                                  </p:stCondLst>
                                  <p:childTnLst>
                                    <p:set>
                                      <p:cBhvr>
                                        <p:cTn id="69" dur="1" fill="hold">
                                          <p:stCondLst>
                                            <p:cond delay="0"/>
                                          </p:stCondLst>
                                        </p:cTn>
                                        <p:tgtEl>
                                          <p:spTgt spid="43"/>
                                        </p:tgtEl>
                                        <p:attrNameLst>
                                          <p:attrName>style.visibility</p:attrName>
                                        </p:attrNameLst>
                                      </p:cBhvr>
                                      <p:to>
                                        <p:strVal val="visible"/>
                                      </p:to>
                                    </p:set>
                                    <p:animEffect transition="in" filter="wipe(up)">
                                      <p:cBhvr>
                                        <p:cTn id="70" dur="500"/>
                                        <p:tgtEl>
                                          <p:spTgt spid="43"/>
                                        </p:tgtEl>
                                      </p:cBhvr>
                                    </p:animEffect>
                                  </p:childTnLst>
                                </p:cTn>
                              </p:par>
                              <p:par>
                                <p:cTn id="71" presetID="22" presetClass="entr" presetSubtype="1" fill="hold" nodeType="withEffect">
                                  <p:stCondLst>
                                    <p:cond delay="0"/>
                                  </p:stCondLst>
                                  <p:childTnLst>
                                    <p:set>
                                      <p:cBhvr>
                                        <p:cTn id="72" dur="1" fill="hold">
                                          <p:stCondLst>
                                            <p:cond delay="0"/>
                                          </p:stCondLst>
                                        </p:cTn>
                                        <p:tgtEl>
                                          <p:spTgt spid="44"/>
                                        </p:tgtEl>
                                        <p:attrNameLst>
                                          <p:attrName>style.visibility</p:attrName>
                                        </p:attrNameLst>
                                      </p:cBhvr>
                                      <p:to>
                                        <p:strVal val="visible"/>
                                      </p:to>
                                    </p:set>
                                    <p:animEffect transition="in" filter="wipe(up)">
                                      <p:cBhvr>
                                        <p:cTn id="73" dur="500"/>
                                        <p:tgtEl>
                                          <p:spTgt spid="44"/>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ntr" presetSubtype="8" fill="hold" grpId="0" nodeType="clickEffect">
                                  <p:stCondLst>
                                    <p:cond delay="0"/>
                                  </p:stCondLst>
                                  <p:childTnLst>
                                    <p:set>
                                      <p:cBhvr>
                                        <p:cTn id="77" dur="1" fill="hold">
                                          <p:stCondLst>
                                            <p:cond delay="0"/>
                                          </p:stCondLst>
                                        </p:cTn>
                                        <p:tgtEl>
                                          <p:spTgt spid="11"/>
                                        </p:tgtEl>
                                        <p:attrNameLst>
                                          <p:attrName>style.visibility</p:attrName>
                                        </p:attrNameLst>
                                      </p:cBhvr>
                                      <p:to>
                                        <p:strVal val="visible"/>
                                      </p:to>
                                    </p:set>
                                    <p:animEffect transition="in" filter="wipe(left)">
                                      <p:cBhvr>
                                        <p:cTn id="78" dur="500"/>
                                        <p:tgtEl>
                                          <p:spTgt spid="11"/>
                                        </p:tgtEl>
                                      </p:cBhvr>
                                    </p:animEffect>
                                  </p:childTnLst>
                                </p:cTn>
                              </p:par>
                              <p:par>
                                <p:cTn id="79" presetID="22" presetClass="entr" presetSubtype="8" fill="hold" grpId="0" nodeType="withEffect">
                                  <p:stCondLst>
                                    <p:cond delay="0"/>
                                  </p:stCondLst>
                                  <p:childTnLst>
                                    <p:set>
                                      <p:cBhvr>
                                        <p:cTn id="80" dur="1" fill="hold">
                                          <p:stCondLst>
                                            <p:cond delay="0"/>
                                          </p:stCondLst>
                                        </p:cTn>
                                        <p:tgtEl>
                                          <p:spTgt spid="13"/>
                                        </p:tgtEl>
                                        <p:attrNameLst>
                                          <p:attrName>style.visibility</p:attrName>
                                        </p:attrNameLst>
                                      </p:cBhvr>
                                      <p:to>
                                        <p:strVal val="visible"/>
                                      </p:to>
                                    </p:set>
                                    <p:animEffect transition="in" filter="wipe(left)">
                                      <p:cBhvr>
                                        <p:cTn id="81" dur="500"/>
                                        <p:tgtEl>
                                          <p:spTgt spid="13"/>
                                        </p:tgtEl>
                                      </p:cBhvr>
                                    </p:animEffect>
                                  </p:childTnLst>
                                </p:cTn>
                              </p:par>
                              <p:par>
                                <p:cTn id="82" presetID="22" presetClass="entr" presetSubtype="8" fill="hold" grpId="0" nodeType="withEffect">
                                  <p:stCondLst>
                                    <p:cond delay="0"/>
                                  </p:stCondLst>
                                  <p:childTnLst>
                                    <p:set>
                                      <p:cBhvr>
                                        <p:cTn id="83" dur="1" fill="hold">
                                          <p:stCondLst>
                                            <p:cond delay="0"/>
                                          </p:stCondLst>
                                        </p:cTn>
                                        <p:tgtEl>
                                          <p:spTgt spid="15"/>
                                        </p:tgtEl>
                                        <p:attrNameLst>
                                          <p:attrName>style.visibility</p:attrName>
                                        </p:attrNameLst>
                                      </p:cBhvr>
                                      <p:to>
                                        <p:strVal val="visible"/>
                                      </p:to>
                                    </p:set>
                                    <p:animEffect transition="in" filter="wipe(left)">
                                      <p:cBhvr>
                                        <p:cTn id="84" dur="500"/>
                                        <p:tgtEl>
                                          <p:spTgt spid="15"/>
                                        </p:tgtEl>
                                      </p:cBhvr>
                                    </p:animEffect>
                                  </p:childTnLst>
                                </p:cTn>
                              </p:par>
                              <p:par>
                                <p:cTn id="85" presetID="22" presetClass="entr" presetSubtype="8" fill="hold" grpId="0" nodeType="withEffect">
                                  <p:stCondLst>
                                    <p:cond delay="0"/>
                                  </p:stCondLst>
                                  <p:childTnLst>
                                    <p:set>
                                      <p:cBhvr>
                                        <p:cTn id="86" dur="1" fill="hold">
                                          <p:stCondLst>
                                            <p:cond delay="0"/>
                                          </p:stCondLst>
                                        </p:cTn>
                                        <p:tgtEl>
                                          <p:spTgt spid="16"/>
                                        </p:tgtEl>
                                        <p:attrNameLst>
                                          <p:attrName>style.visibility</p:attrName>
                                        </p:attrNameLst>
                                      </p:cBhvr>
                                      <p:to>
                                        <p:strVal val="visible"/>
                                      </p:to>
                                    </p:set>
                                    <p:animEffect transition="in" filter="wipe(left)">
                                      <p:cBhvr>
                                        <p:cTn id="87" dur="500"/>
                                        <p:tgtEl>
                                          <p:spTgt spid="16"/>
                                        </p:tgtEl>
                                      </p:cBhvr>
                                    </p:animEffect>
                                  </p:childTnLst>
                                </p:cTn>
                              </p:par>
                              <p:par>
                                <p:cTn id="88" presetID="22" presetClass="entr" presetSubtype="8" fill="hold" grpId="0" nodeType="withEffect">
                                  <p:stCondLst>
                                    <p:cond delay="0"/>
                                  </p:stCondLst>
                                  <p:childTnLst>
                                    <p:set>
                                      <p:cBhvr>
                                        <p:cTn id="89" dur="1" fill="hold">
                                          <p:stCondLst>
                                            <p:cond delay="0"/>
                                          </p:stCondLst>
                                        </p:cTn>
                                        <p:tgtEl>
                                          <p:spTgt spid="59"/>
                                        </p:tgtEl>
                                        <p:attrNameLst>
                                          <p:attrName>style.visibility</p:attrName>
                                        </p:attrNameLst>
                                      </p:cBhvr>
                                      <p:to>
                                        <p:strVal val="visible"/>
                                      </p:to>
                                    </p:set>
                                    <p:animEffect transition="in" filter="wipe(left)">
                                      <p:cBhvr>
                                        <p:cTn id="90" dur="500"/>
                                        <p:tgtEl>
                                          <p:spTgt spid="59"/>
                                        </p:tgtEl>
                                      </p:cBhvr>
                                    </p:animEffect>
                                  </p:childTnLst>
                                </p:cTn>
                              </p:par>
                              <p:par>
                                <p:cTn id="91" presetID="22" presetClass="entr" presetSubtype="8" fill="hold" grpId="0" nodeType="withEffect">
                                  <p:stCondLst>
                                    <p:cond delay="0"/>
                                  </p:stCondLst>
                                  <p:childTnLst>
                                    <p:set>
                                      <p:cBhvr>
                                        <p:cTn id="92" dur="1" fill="hold">
                                          <p:stCondLst>
                                            <p:cond delay="0"/>
                                          </p:stCondLst>
                                        </p:cTn>
                                        <p:tgtEl>
                                          <p:spTgt spid="62"/>
                                        </p:tgtEl>
                                        <p:attrNameLst>
                                          <p:attrName>style.visibility</p:attrName>
                                        </p:attrNameLst>
                                      </p:cBhvr>
                                      <p:to>
                                        <p:strVal val="visible"/>
                                      </p:to>
                                    </p:set>
                                    <p:animEffect transition="in" filter="wipe(left)">
                                      <p:cBhvr>
                                        <p:cTn id="93" dur="500"/>
                                        <p:tgtEl>
                                          <p:spTgt spid="62"/>
                                        </p:tgtEl>
                                      </p:cBhvr>
                                    </p:animEffect>
                                  </p:childTnLst>
                                </p:cTn>
                              </p:par>
                              <p:par>
                                <p:cTn id="94" presetID="22" presetClass="entr" presetSubtype="8" fill="hold" nodeType="withEffect">
                                  <p:stCondLst>
                                    <p:cond delay="0"/>
                                  </p:stCondLst>
                                  <p:childTnLst>
                                    <p:set>
                                      <p:cBhvr>
                                        <p:cTn id="95" dur="1" fill="hold">
                                          <p:stCondLst>
                                            <p:cond delay="0"/>
                                          </p:stCondLst>
                                        </p:cTn>
                                        <p:tgtEl>
                                          <p:spTgt spid="10"/>
                                        </p:tgtEl>
                                        <p:attrNameLst>
                                          <p:attrName>style.visibility</p:attrName>
                                        </p:attrNameLst>
                                      </p:cBhvr>
                                      <p:to>
                                        <p:strVal val="visible"/>
                                      </p:to>
                                    </p:set>
                                    <p:animEffect transition="in" filter="wipe(left)">
                                      <p:cBhvr>
                                        <p:cTn id="96" dur="500"/>
                                        <p:tgtEl>
                                          <p:spTgt spid="10"/>
                                        </p:tgtEl>
                                      </p:cBhvr>
                                    </p:animEffect>
                                  </p:childTnLst>
                                </p:cTn>
                              </p:par>
                              <p:par>
                                <p:cTn id="97" presetID="22" presetClass="entr" presetSubtype="8" fill="hold" nodeType="withEffect">
                                  <p:stCondLst>
                                    <p:cond delay="0"/>
                                  </p:stCondLst>
                                  <p:childTnLst>
                                    <p:set>
                                      <p:cBhvr>
                                        <p:cTn id="98" dur="1" fill="hold">
                                          <p:stCondLst>
                                            <p:cond delay="0"/>
                                          </p:stCondLst>
                                        </p:cTn>
                                        <p:tgtEl>
                                          <p:spTgt spid="14"/>
                                        </p:tgtEl>
                                        <p:attrNameLst>
                                          <p:attrName>style.visibility</p:attrName>
                                        </p:attrNameLst>
                                      </p:cBhvr>
                                      <p:to>
                                        <p:strVal val="visible"/>
                                      </p:to>
                                    </p:set>
                                    <p:animEffect transition="in" filter="wipe(left)">
                                      <p:cBhvr>
                                        <p:cTn id="99" dur="500"/>
                                        <p:tgtEl>
                                          <p:spTgt spid="14"/>
                                        </p:tgtEl>
                                      </p:cBhvr>
                                    </p:animEffect>
                                  </p:childTnLst>
                                </p:cTn>
                              </p:par>
                              <p:par>
                                <p:cTn id="100" presetID="22" presetClass="entr" presetSubtype="8" fill="hold" nodeType="withEffect">
                                  <p:stCondLst>
                                    <p:cond delay="0"/>
                                  </p:stCondLst>
                                  <p:childTnLst>
                                    <p:set>
                                      <p:cBhvr>
                                        <p:cTn id="101" dur="1" fill="hold">
                                          <p:stCondLst>
                                            <p:cond delay="0"/>
                                          </p:stCondLst>
                                        </p:cTn>
                                        <p:tgtEl>
                                          <p:spTgt spid="18"/>
                                        </p:tgtEl>
                                        <p:attrNameLst>
                                          <p:attrName>style.visibility</p:attrName>
                                        </p:attrNameLst>
                                      </p:cBhvr>
                                      <p:to>
                                        <p:strVal val="visible"/>
                                      </p:to>
                                    </p:set>
                                    <p:animEffect transition="in" filter="wipe(left)">
                                      <p:cBhvr>
                                        <p:cTn id="102" dur="500"/>
                                        <p:tgtEl>
                                          <p:spTgt spid="18"/>
                                        </p:tgtEl>
                                      </p:cBhvr>
                                    </p:animEffect>
                                  </p:childTnLst>
                                </p:cTn>
                              </p:par>
                              <p:par>
                                <p:cTn id="103" presetID="22" presetClass="entr" presetSubtype="8" fill="hold" nodeType="withEffect">
                                  <p:stCondLst>
                                    <p:cond delay="0"/>
                                  </p:stCondLst>
                                  <p:childTnLst>
                                    <p:set>
                                      <p:cBhvr>
                                        <p:cTn id="104" dur="1" fill="hold">
                                          <p:stCondLst>
                                            <p:cond delay="0"/>
                                          </p:stCondLst>
                                        </p:cTn>
                                        <p:tgtEl>
                                          <p:spTgt spid="19"/>
                                        </p:tgtEl>
                                        <p:attrNameLst>
                                          <p:attrName>style.visibility</p:attrName>
                                        </p:attrNameLst>
                                      </p:cBhvr>
                                      <p:to>
                                        <p:strVal val="visible"/>
                                      </p:to>
                                    </p:set>
                                    <p:animEffect transition="in" filter="wipe(left)">
                                      <p:cBhvr>
                                        <p:cTn id="105" dur="500"/>
                                        <p:tgtEl>
                                          <p:spTgt spid="19"/>
                                        </p:tgtEl>
                                      </p:cBhvr>
                                    </p:animEffect>
                                  </p:childTnLst>
                                </p:cTn>
                              </p:par>
                              <p:par>
                                <p:cTn id="106" presetID="22" presetClass="entr" presetSubtype="8" fill="hold" nodeType="withEffect">
                                  <p:stCondLst>
                                    <p:cond delay="0"/>
                                  </p:stCondLst>
                                  <p:childTnLst>
                                    <p:set>
                                      <p:cBhvr>
                                        <p:cTn id="107" dur="1" fill="hold">
                                          <p:stCondLst>
                                            <p:cond delay="0"/>
                                          </p:stCondLst>
                                        </p:cTn>
                                        <p:tgtEl>
                                          <p:spTgt spid="60"/>
                                        </p:tgtEl>
                                        <p:attrNameLst>
                                          <p:attrName>style.visibility</p:attrName>
                                        </p:attrNameLst>
                                      </p:cBhvr>
                                      <p:to>
                                        <p:strVal val="visible"/>
                                      </p:to>
                                    </p:set>
                                    <p:animEffect transition="in" filter="wipe(left)">
                                      <p:cBhvr>
                                        <p:cTn id="108" dur="500"/>
                                        <p:tgtEl>
                                          <p:spTgt spid="60"/>
                                        </p:tgtEl>
                                      </p:cBhvr>
                                    </p:animEffect>
                                  </p:childTnLst>
                                </p:cTn>
                              </p:par>
                              <p:par>
                                <p:cTn id="109" presetID="22" presetClass="entr" presetSubtype="8" fill="hold" nodeType="withEffect">
                                  <p:stCondLst>
                                    <p:cond delay="0"/>
                                  </p:stCondLst>
                                  <p:childTnLst>
                                    <p:set>
                                      <p:cBhvr>
                                        <p:cTn id="110" dur="1" fill="hold">
                                          <p:stCondLst>
                                            <p:cond delay="0"/>
                                          </p:stCondLst>
                                        </p:cTn>
                                        <p:tgtEl>
                                          <p:spTgt spid="61"/>
                                        </p:tgtEl>
                                        <p:attrNameLst>
                                          <p:attrName>style.visibility</p:attrName>
                                        </p:attrNameLst>
                                      </p:cBhvr>
                                      <p:to>
                                        <p:strVal val="visible"/>
                                      </p:to>
                                    </p:set>
                                    <p:animEffect transition="in" filter="wipe(left)">
                                      <p:cBhvr>
                                        <p:cTn id="111" dur="500"/>
                                        <p:tgtEl>
                                          <p:spTgt spid="61"/>
                                        </p:tgtEl>
                                      </p:cBhvr>
                                    </p:animEffect>
                                  </p:childTnLst>
                                </p:cTn>
                              </p:par>
                              <p:par>
                                <p:cTn id="112" presetID="22" presetClass="entr" presetSubtype="8" fill="hold" nodeType="withEffect">
                                  <p:stCondLst>
                                    <p:cond delay="0"/>
                                  </p:stCondLst>
                                  <p:childTnLst>
                                    <p:set>
                                      <p:cBhvr>
                                        <p:cTn id="113" dur="1" fill="hold">
                                          <p:stCondLst>
                                            <p:cond delay="0"/>
                                          </p:stCondLst>
                                        </p:cTn>
                                        <p:tgtEl>
                                          <p:spTgt spid="63"/>
                                        </p:tgtEl>
                                        <p:attrNameLst>
                                          <p:attrName>style.visibility</p:attrName>
                                        </p:attrNameLst>
                                      </p:cBhvr>
                                      <p:to>
                                        <p:strVal val="visible"/>
                                      </p:to>
                                    </p:set>
                                    <p:animEffect transition="in" filter="wipe(left)">
                                      <p:cBhvr>
                                        <p:cTn id="114" dur="500"/>
                                        <p:tgtEl>
                                          <p:spTgt spid="63"/>
                                        </p:tgtEl>
                                      </p:cBhvr>
                                    </p:animEffect>
                                  </p:childTnLst>
                                </p:cTn>
                              </p:par>
                              <p:par>
                                <p:cTn id="115" presetID="22" presetClass="entr" presetSubtype="8" fill="hold" nodeType="withEffect">
                                  <p:stCondLst>
                                    <p:cond delay="0"/>
                                  </p:stCondLst>
                                  <p:childTnLst>
                                    <p:set>
                                      <p:cBhvr>
                                        <p:cTn id="116" dur="1" fill="hold">
                                          <p:stCondLst>
                                            <p:cond delay="0"/>
                                          </p:stCondLst>
                                        </p:cTn>
                                        <p:tgtEl>
                                          <p:spTgt spid="64"/>
                                        </p:tgtEl>
                                        <p:attrNameLst>
                                          <p:attrName>style.visibility</p:attrName>
                                        </p:attrNameLst>
                                      </p:cBhvr>
                                      <p:to>
                                        <p:strVal val="visible"/>
                                      </p:to>
                                    </p:set>
                                    <p:animEffect transition="in" filter="wipe(left)">
                                      <p:cBhvr>
                                        <p:cTn id="117"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P spid="8" grpId="0" animBg="1"/>
      <p:bldP spid="9" grpId="0" animBg="1"/>
      <p:bldP spid="20" grpId="0" animBg="1"/>
      <p:bldP spid="21" grpId="0" animBg="1"/>
      <p:bldP spid="34" grpId="0"/>
      <p:bldP spid="35" grpId="0"/>
      <p:bldP spid="36" grpId="0"/>
      <p:bldP spid="37" grpId="0"/>
      <p:bldP spid="38" grpId="0"/>
      <p:bldP spid="41" grpId="0"/>
      <p:bldP spid="42" grpId="0"/>
      <p:bldP spid="11" grpId="0" animBg="1"/>
      <p:bldP spid="13" grpId="0" animBg="1"/>
      <p:bldP spid="15" grpId="0" animBg="1"/>
      <p:bldP spid="16" grpId="0" animBg="1"/>
      <p:bldP spid="59" grpId="0" animBg="1"/>
      <p:bldP spid="6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29232A-04B2-43A9-856C-32001C4B45FC}"/>
              </a:ext>
            </a:extLst>
          </p:cNvPr>
          <p:cNvSpPr>
            <a:spLocks noGrp="1"/>
          </p:cNvSpPr>
          <p:nvPr>
            <p:ph type="title"/>
          </p:nvPr>
        </p:nvSpPr>
        <p:spPr/>
        <p:txBody>
          <a:bodyPr/>
          <a:lstStyle/>
          <a:p>
            <a:r>
              <a:rPr lang="en-ZA" b="1" dirty="0">
                <a:latin typeface="Century Gothic" panose="020B0502020202020204" pitchFamily="34" charset="0"/>
              </a:rPr>
              <a:t>The typology life-cycle</a:t>
            </a:r>
          </a:p>
        </p:txBody>
      </p:sp>
      <p:sp>
        <p:nvSpPr>
          <p:cNvPr id="8" name="Content Placeholder 7">
            <a:extLst>
              <a:ext uri="{FF2B5EF4-FFF2-40B4-BE49-F238E27FC236}">
                <a16:creationId xmlns:a16="http://schemas.microsoft.com/office/drawing/2014/main" id="{CFA4D283-764D-4FF4-8B3D-15E2D3279DF2}"/>
              </a:ext>
            </a:extLst>
          </p:cNvPr>
          <p:cNvSpPr>
            <a:spLocks noGrp="1"/>
          </p:cNvSpPr>
          <p:nvPr>
            <p:ph idx="1"/>
          </p:nvPr>
        </p:nvSpPr>
        <p:spPr>
          <a:xfrm>
            <a:off x="488879" y="2370137"/>
            <a:ext cx="10515600" cy="4351338"/>
          </a:xfrm>
        </p:spPr>
        <p:txBody>
          <a:bodyPr>
            <a:normAutofit fontScale="62500" lnSpcReduction="20000"/>
          </a:bodyPr>
          <a:lstStyle/>
          <a:p>
            <a:r>
              <a:rPr lang="en-GB" dirty="0"/>
              <a:t>Typology 28 (Scams)</a:t>
            </a:r>
          </a:p>
          <a:p>
            <a:pPr lvl="1"/>
            <a:r>
              <a:rPr lang="en-GB" dirty="0"/>
              <a:t>003@1.1.0	Rule: Account dormancy - creditor</a:t>
            </a:r>
          </a:p>
          <a:p>
            <a:pPr lvl="1"/>
            <a:r>
              <a:rPr lang="en-GB" dirty="0"/>
              <a:t>008@1.0.0	Rule: Outgoing transfer similarity - Creditor</a:t>
            </a:r>
          </a:p>
          <a:p>
            <a:pPr lvl="1"/>
            <a:r>
              <a:rPr lang="en-GB" dirty="0"/>
              <a:t>010@1.0.0	Rule: Increased account activity - Debtor</a:t>
            </a:r>
          </a:p>
          <a:p>
            <a:pPr lvl="1"/>
            <a:r>
              <a:rPr lang="en-GB" dirty="0"/>
              <a:t>011@1.0.0	Rule: Increased account activity - Creditor</a:t>
            </a:r>
          </a:p>
          <a:p>
            <a:pPr lvl="1"/>
            <a:r>
              <a:rPr lang="en-GB" dirty="0"/>
              <a:t>016@1.0.0	Rule: Transaction convergence - creditor</a:t>
            </a:r>
          </a:p>
          <a:p>
            <a:pPr lvl="1"/>
            <a:r>
              <a:rPr lang="en-GB" dirty="0"/>
              <a:t>018@1.0.0	Rule: Exceptionally large outgoing transfer</a:t>
            </a:r>
          </a:p>
          <a:p>
            <a:pPr lvl="1"/>
            <a:r>
              <a:rPr lang="en-GB" dirty="0"/>
              <a:t>021@1.0.0	Rule: A large number of similar transaction amounts - Creditor</a:t>
            </a:r>
          </a:p>
          <a:p>
            <a:pPr lvl="1"/>
            <a:r>
              <a:rPr lang="en-GB" dirty="0"/>
              <a:t>025@1.0.0	Rule: Aggregated transaction mirroring</a:t>
            </a:r>
          </a:p>
          <a:p>
            <a:pPr lvl="1"/>
            <a:r>
              <a:rPr lang="en-GB" dirty="0"/>
              <a:t>027@1.0.0	Rule: Immediate transaction mirroring</a:t>
            </a:r>
          </a:p>
          <a:p>
            <a:pPr lvl="1"/>
            <a:r>
              <a:rPr lang="en-GB" dirty="0"/>
              <a:t>028@1.1.0	Rule: Debtor age</a:t>
            </a:r>
          </a:p>
          <a:p>
            <a:pPr lvl="1"/>
            <a:r>
              <a:rPr lang="en-GB" dirty="0"/>
              <a:t>030@1.0.0	Rule: New Creditor transfer</a:t>
            </a:r>
          </a:p>
          <a:p>
            <a:pPr lvl="1"/>
            <a:r>
              <a:rPr lang="en-GB" dirty="0"/>
              <a:t>034@1.0.0	Rule: Watch-listed account - Debtor</a:t>
            </a:r>
          </a:p>
          <a:p>
            <a:pPr lvl="1"/>
            <a:r>
              <a:rPr lang="en-GB" dirty="0"/>
              <a:t>035@1.0.0	Rule: Watch-listed account - Creditor</a:t>
            </a:r>
          </a:p>
          <a:p>
            <a:pPr lvl="1"/>
            <a:r>
              <a:rPr lang="en-GB" dirty="0"/>
              <a:t>036@1.0.0	Rule: Watch-listed party - debtor</a:t>
            </a:r>
          </a:p>
          <a:p>
            <a:pPr lvl="1"/>
            <a:r>
              <a:rPr lang="en-GB" dirty="0"/>
              <a:t>037@1.0.0	Rule: Watch-listed party - creditor</a:t>
            </a:r>
          </a:p>
          <a:p>
            <a:pPr lvl="1"/>
            <a:r>
              <a:rPr lang="en-GB" dirty="0"/>
              <a:t>048@1.0.0	Rule: Large transaction amount vs history - Debtor</a:t>
            </a:r>
          </a:p>
          <a:p>
            <a:pPr lvl="1"/>
            <a:r>
              <a:rPr lang="en-GB" dirty="0"/>
              <a:t>063@1.0.0	Rule: Synthetic data check - </a:t>
            </a:r>
            <a:r>
              <a:rPr lang="en-GB" dirty="0" err="1"/>
              <a:t>Benford's</a:t>
            </a:r>
            <a:r>
              <a:rPr lang="en-GB" dirty="0"/>
              <a:t> Law - Creditor</a:t>
            </a:r>
          </a:p>
        </p:txBody>
      </p:sp>
      <p:sp>
        <p:nvSpPr>
          <p:cNvPr id="10" name="Rectangle 9">
            <a:extLst>
              <a:ext uri="{FF2B5EF4-FFF2-40B4-BE49-F238E27FC236}">
                <a16:creationId xmlns:a16="http://schemas.microsoft.com/office/drawing/2014/main" id="{FAC3F25C-A8E5-48DD-98AB-281A5EFB8675}"/>
              </a:ext>
            </a:extLst>
          </p:cNvPr>
          <p:cNvSpPr/>
          <p:nvPr/>
        </p:nvSpPr>
        <p:spPr>
          <a:xfrm>
            <a:off x="2311685" y="2609618"/>
            <a:ext cx="5938463" cy="3811712"/>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12" name="Picture 11">
            <a:extLst>
              <a:ext uri="{FF2B5EF4-FFF2-40B4-BE49-F238E27FC236}">
                <a16:creationId xmlns:a16="http://schemas.microsoft.com/office/drawing/2014/main" id="{66CFE00E-806A-42DC-94C6-641050BCB2CD}"/>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100000"/>
                    </a14:imgEffect>
                  </a14:imgLayer>
                </a14:imgProps>
              </a:ext>
            </a:extLst>
          </a:blip>
          <a:stretch>
            <a:fillRect/>
          </a:stretch>
        </p:blipFill>
        <p:spPr>
          <a:xfrm>
            <a:off x="2378465" y="2600685"/>
            <a:ext cx="5804901" cy="3829578"/>
          </a:xfrm>
          <a:prstGeom prst="rect">
            <a:avLst/>
          </a:prstGeom>
        </p:spPr>
      </p:pic>
      <p:grpSp>
        <p:nvGrpSpPr>
          <p:cNvPr id="34" name="Group 33">
            <a:extLst>
              <a:ext uri="{FF2B5EF4-FFF2-40B4-BE49-F238E27FC236}">
                <a16:creationId xmlns:a16="http://schemas.microsoft.com/office/drawing/2014/main" id="{5CDE0B17-E109-4494-BDC1-E08330939D5F}"/>
              </a:ext>
            </a:extLst>
          </p:cNvPr>
          <p:cNvGrpSpPr/>
          <p:nvPr/>
        </p:nvGrpSpPr>
        <p:grpSpPr>
          <a:xfrm>
            <a:off x="904768" y="1117585"/>
            <a:ext cx="10382465" cy="1017845"/>
            <a:chOff x="838200" y="1117585"/>
            <a:chExt cx="10382465" cy="1017845"/>
          </a:xfrm>
        </p:grpSpPr>
        <p:grpSp>
          <p:nvGrpSpPr>
            <p:cNvPr id="21" name="Group 20">
              <a:extLst>
                <a:ext uri="{FF2B5EF4-FFF2-40B4-BE49-F238E27FC236}">
                  <a16:creationId xmlns:a16="http://schemas.microsoft.com/office/drawing/2014/main" id="{D76D6E39-90F1-4EED-B851-162031D37215}"/>
                </a:ext>
              </a:extLst>
            </p:cNvPr>
            <p:cNvGrpSpPr/>
            <p:nvPr/>
          </p:nvGrpSpPr>
          <p:grpSpPr>
            <a:xfrm>
              <a:off x="838200" y="1117585"/>
              <a:ext cx="1889586" cy="1008000"/>
              <a:chOff x="838200" y="1153458"/>
              <a:chExt cx="1889586" cy="1008000"/>
            </a:xfrm>
          </p:grpSpPr>
          <p:sp>
            <p:nvSpPr>
              <p:cNvPr id="13" name="Rectangle: Rounded Corners 12">
                <a:extLst>
                  <a:ext uri="{FF2B5EF4-FFF2-40B4-BE49-F238E27FC236}">
                    <a16:creationId xmlns:a16="http://schemas.microsoft.com/office/drawing/2014/main" id="{ED81882D-C6C1-4C51-B1EA-651AA85D7C32}"/>
                  </a:ext>
                </a:extLst>
              </p:cNvPr>
              <p:cNvSpPr/>
              <p:nvPr/>
            </p:nvSpPr>
            <p:spPr>
              <a:xfrm>
                <a:off x="838200" y="1153458"/>
                <a:ext cx="1889586" cy="10080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a:r>
                  <a:rPr lang="en-GB" dirty="0"/>
                  <a:t>Develop the rules</a:t>
                </a:r>
                <a:endParaRPr lang="en-ZA" dirty="0"/>
              </a:p>
            </p:txBody>
          </p:sp>
          <p:sp>
            <p:nvSpPr>
              <p:cNvPr id="16" name="Rectangle: Rounded Corners 15">
                <a:extLst>
                  <a:ext uri="{FF2B5EF4-FFF2-40B4-BE49-F238E27FC236}">
                    <a16:creationId xmlns:a16="http://schemas.microsoft.com/office/drawing/2014/main" id="{01466382-6210-421C-A825-F12CC6092AB5}"/>
                  </a:ext>
                </a:extLst>
              </p:cNvPr>
              <p:cNvSpPr/>
              <p:nvPr/>
            </p:nvSpPr>
            <p:spPr>
              <a:xfrm>
                <a:off x="971335" y="1890445"/>
                <a:ext cx="1623316" cy="262079"/>
              </a:xfrm>
              <a:prstGeom prst="roundRect">
                <a:avLst>
                  <a:gd name="adj" fmla="val 50000"/>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GB" sz="1400" dirty="0"/>
                  <a:t>Development</a:t>
                </a:r>
                <a:endParaRPr lang="en-ZA" sz="1400" dirty="0"/>
              </a:p>
            </p:txBody>
          </p:sp>
        </p:grpSp>
        <p:grpSp>
          <p:nvGrpSpPr>
            <p:cNvPr id="22" name="Group 21">
              <a:extLst>
                <a:ext uri="{FF2B5EF4-FFF2-40B4-BE49-F238E27FC236}">
                  <a16:creationId xmlns:a16="http://schemas.microsoft.com/office/drawing/2014/main" id="{DD2BF3EE-2D38-4DE7-8921-0C78BAF67685}"/>
                </a:ext>
              </a:extLst>
            </p:cNvPr>
            <p:cNvGrpSpPr/>
            <p:nvPr/>
          </p:nvGrpSpPr>
          <p:grpSpPr>
            <a:xfrm>
              <a:off x="3669160" y="1117585"/>
              <a:ext cx="1889586" cy="1008000"/>
              <a:chOff x="3240640" y="1144525"/>
              <a:chExt cx="1889586" cy="1008000"/>
            </a:xfrm>
          </p:grpSpPr>
          <p:sp>
            <p:nvSpPr>
              <p:cNvPr id="14" name="Rectangle: Rounded Corners 13">
                <a:extLst>
                  <a:ext uri="{FF2B5EF4-FFF2-40B4-BE49-F238E27FC236}">
                    <a16:creationId xmlns:a16="http://schemas.microsoft.com/office/drawing/2014/main" id="{4144615C-5D7C-41CB-8F82-C7C369818826}"/>
                  </a:ext>
                </a:extLst>
              </p:cNvPr>
              <p:cNvSpPr/>
              <p:nvPr/>
            </p:nvSpPr>
            <p:spPr>
              <a:xfrm>
                <a:off x="3240640" y="1144525"/>
                <a:ext cx="1889586" cy="10080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a:r>
                  <a:rPr lang="en-GB" dirty="0"/>
                  <a:t>Compose the typology</a:t>
                </a:r>
                <a:endParaRPr lang="en-ZA" dirty="0"/>
              </a:p>
            </p:txBody>
          </p:sp>
          <p:sp>
            <p:nvSpPr>
              <p:cNvPr id="17" name="Rectangle: Rounded Corners 16">
                <a:extLst>
                  <a:ext uri="{FF2B5EF4-FFF2-40B4-BE49-F238E27FC236}">
                    <a16:creationId xmlns:a16="http://schemas.microsoft.com/office/drawing/2014/main" id="{D0A1051F-E6C1-4229-AA38-A780F67EDCC7}"/>
                  </a:ext>
                </a:extLst>
              </p:cNvPr>
              <p:cNvSpPr/>
              <p:nvPr/>
            </p:nvSpPr>
            <p:spPr>
              <a:xfrm>
                <a:off x="3357508" y="1890445"/>
                <a:ext cx="1623316" cy="262079"/>
              </a:xfrm>
              <a:prstGeom prst="roundRect">
                <a:avLst>
                  <a:gd name="adj" fmla="val 50000"/>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GB" sz="1400" dirty="0"/>
                  <a:t>Configuration</a:t>
                </a:r>
                <a:endParaRPr lang="en-ZA" sz="1400" dirty="0"/>
              </a:p>
            </p:txBody>
          </p:sp>
        </p:grpSp>
        <p:grpSp>
          <p:nvGrpSpPr>
            <p:cNvPr id="23" name="Group 22">
              <a:extLst>
                <a:ext uri="{FF2B5EF4-FFF2-40B4-BE49-F238E27FC236}">
                  <a16:creationId xmlns:a16="http://schemas.microsoft.com/office/drawing/2014/main" id="{C834E54A-3A8D-4E3C-A893-92B879E68C29}"/>
                </a:ext>
              </a:extLst>
            </p:cNvPr>
            <p:cNvGrpSpPr/>
            <p:nvPr/>
          </p:nvGrpSpPr>
          <p:grpSpPr>
            <a:xfrm>
              <a:off x="6500120" y="1117585"/>
              <a:ext cx="1889586" cy="1008000"/>
              <a:chOff x="5643080" y="1144524"/>
              <a:chExt cx="1889586" cy="1008000"/>
            </a:xfrm>
          </p:grpSpPr>
          <p:sp>
            <p:nvSpPr>
              <p:cNvPr id="15" name="Rectangle: Rounded Corners 14">
                <a:extLst>
                  <a:ext uri="{FF2B5EF4-FFF2-40B4-BE49-F238E27FC236}">
                    <a16:creationId xmlns:a16="http://schemas.microsoft.com/office/drawing/2014/main" id="{9784AEF0-03AB-4748-9AA0-F79BA57C4C25}"/>
                  </a:ext>
                </a:extLst>
              </p:cNvPr>
              <p:cNvSpPr/>
              <p:nvPr/>
            </p:nvSpPr>
            <p:spPr>
              <a:xfrm>
                <a:off x="5643080" y="1144524"/>
                <a:ext cx="1889586" cy="10080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a:r>
                  <a:rPr lang="en-GB" dirty="0"/>
                  <a:t>Deploy the typology</a:t>
                </a:r>
                <a:endParaRPr lang="en-ZA" dirty="0"/>
              </a:p>
            </p:txBody>
          </p:sp>
          <p:sp>
            <p:nvSpPr>
              <p:cNvPr id="18" name="Rectangle: Rounded Corners 17">
                <a:extLst>
                  <a:ext uri="{FF2B5EF4-FFF2-40B4-BE49-F238E27FC236}">
                    <a16:creationId xmlns:a16="http://schemas.microsoft.com/office/drawing/2014/main" id="{2124B41E-E19A-416C-8F96-A8E514D2664A}"/>
                  </a:ext>
                </a:extLst>
              </p:cNvPr>
              <p:cNvSpPr/>
              <p:nvPr/>
            </p:nvSpPr>
            <p:spPr>
              <a:xfrm>
                <a:off x="5774073" y="1873351"/>
                <a:ext cx="1623316" cy="262079"/>
              </a:xfrm>
              <a:prstGeom prst="roundRect">
                <a:avLst>
                  <a:gd name="adj" fmla="val 50000"/>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GB" sz="1400" dirty="0"/>
                  <a:t>Configuration</a:t>
                </a:r>
                <a:endParaRPr lang="en-ZA" sz="1400" dirty="0"/>
              </a:p>
            </p:txBody>
          </p:sp>
        </p:grpSp>
        <p:grpSp>
          <p:nvGrpSpPr>
            <p:cNvPr id="24" name="Group 23">
              <a:extLst>
                <a:ext uri="{FF2B5EF4-FFF2-40B4-BE49-F238E27FC236}">
                  <a16:creationId xmlns:a16="http://schemas.microsoft.com/office/drawing/2014/main" id="{3D1951B6-447E-46DC-9732-EFB48654E49B}"/>
                </a:ext>
              </a:extLst>
            </p:cNvPr>
            <p:cNvGrpSpPr/>
            <p:nvPr/>
          </p:nvGrpSpPr>
          <p:grpSpPr>
            <a:xfrm>
              <a:off x="9331079" y="1117585"/>
              <a:ext cx="1889586" cy="1017845"/>
              <a:chOff x="8045520" y="1117585"/>
              <a:chExt cx="1889586" cy="1017845"/>
            </a:xfrm>
          </p:grpSpPr>
          <p:sp>
            <p:nvSpPr>
              <p:cNvPr id="19" name="Rectangle: Rounded Corners 18">
                <a:extLst>
                  <a:ext uri="{FF2B5EF4-FFF2-40B4-BE49-F238E27FC236}">
                    <a16:creationId xmlns:a16="http://schemas.microsoft.com/office/drawing/2014/main" id="{247FC0D1-FA39-4A85-AED8-AC6726ABC832}"/>
                  </a:ext>
                </a:extLst>
              </p:cNvPr>
              <p:cNvSpPr/>
              <p:nvPr/>
            </p:nvSpPr>
            <p:spPr>
              <a:xfrm>
                <a:off x="8045520" y="1117585"/>
                <a:ext cx="1889586" cy="10080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a:r>
                  <a:rPr lang="en-GB" dirty="0"/>
                  <a:t>Calibration</a:t>
                </a:r>
                <a:endParaRPr lang="en-ZA" dirty="0"/>
              </a:p>
            </p:txBody>
          </p:sp>
          <p:sp>
            <p:nvSpPr>
              <p:cNvPr id="20" name="Rectangle: Rounded Corners 19">
                <a:extLst>
                  <a:ext uri="{FF2B5EF4-FFF2-40B4-BE49-F238E27FC236}">
                    <a16:creationId xmlns:a16="http://schemas.microsoft.com/office/drawing/2014/main" id="{7C821E85-AE0B-4D02-B6A0-6B85546F7138}"/>
                  </a:ext>
                </a:extLst>
              </p:cNvPr>
              <p:cNvSpPr/>
              <p:nvPr/>
            </p:nvSpPr>
            <p:spPr>
              <a:xfrm>
                <a:off x="8178655" y="1873351"/>
                <a:ext cx="1623316" cy="262079"/>
              </a:xfrm>
              <a:prstGeom prst="roundRect">
                <a:avLst>
                  <a:gd name="adj" fmla="val 50000"/>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GB" sz="1400" dirty="0"/>
                  <a:t>Configuration</a:t>
                </a:r>
                <a:endParaRPr lang="en-ZA" sz="1400" dirty="0"/>
              </a:p>
            </p:txBody>
          </p:sp>
        </p:grpSp>
        <p:cxnSp>
          <p:nvCxnSpPr>
            <p:cNvPr id="26" name="Straight Arrow Connector 25">
              <a:extLst>
                <a:ext uri="{FF2B5EF4-FFF2-40B4-BE49-F238E27FC236}">
                  <a16:creationId xmlns:a16="http://schemas.microsoft.com/office/drawing/2014/main" id="{935F21AA-E656-4866-B9BB-772AA0C51CCD}"/>
                </a:ext>
              </a:extLst>
            </p:cNvPr>
            <p:cNvCxnSpPr>
              <a:stCxn id="13" idx="3"/>
              <a:endCxn id="14" idx="1"/>
            </p:cNvCxnSpPr>
            <p:nvPr/>
          </p:nvCxnSpPr>
          <p:spPr>
            <a:xfrm>
              <a:off x="2727786" y="1621585"/>
              <a:ext cx="941374" cy="0"/>
            </a:xfrm>
            <a:prstGeom prst="straightConnector1">
              <a:avLst/>
            </a:prstGeom>
            <a:ln w="12700">
              <a:tailEnd type="triangle"/>
            </a:ln>
          </p:spPr>
          <p:style>
            <a:lnRef idx="1">
              <a:schemeClr val="accent6"/>
            </a:lnRef>
            <a:fillRef idx="0">
              <a:schemeClr val="accent6"/>
            </a:fillRef>
            <a:effectRef idx="0">
              <a:schemeClr val="accent6"/>
            </a:effectRef>
            <a:fontRef idx="minor">
              <a:schemeClr val="tx1"/>
            </a:fontRef>
          </p:style>
        </p:cxnSp>
        <p:cxnSp>
          <p:nvCxnSpPr>
            <p:cNvPr id="27" name="Straight Arrow Connector 26">
              <a:extLst>
                <a:ext uri="{FF2B5EF4-FFF2-40B4-BE49-F238E27FC236}">
                  <a16:creationId xmlns:a16="http://schemas.microsoft.com/office/drawing/2014/main" id="{535792E2-F70A-4F9D-8A54-8A85AAAE016B}"/>
                </a:ext>
              </a:extLst>
            </p:cNvPr>
            <p:cNvCxnSpPr>
              <a:cxnSpLocks/>
              <a:stCxn id="14" idx="3"/>
              <a:endCxn id="15" idx="1"/>
            </p:cNvCxnSpPr>
            <p:nvPr/>
          </p:nvCxnSpPr>
          <p:spPr>
            <a:xfrm>
              <a:off x="5558746" y="1621585"/>
              <a:ext cx="941374" cy="0"/>
            </a:xfrm>
            <a:prstGeom prst="straightConnector1">
              <a:avLst/>
            </a:prstGeom>
            <a:ln w="12700">
              <a:tailEnd type="triangle"/>
            </a:ln>
          </p:spPr>
          <p:style>
            <a:lnRef idx="1">
              <a:schemeClr val="accent6"/>
            </a:lnRef>
            <a:fillRef idx="0">
              <a:schemeClr val="accent6"/>
            </a:fillRef>
            <a:effectRef idx="0">
              <a:schemeClr val="accent6"/>
            </a:effectRef>
            <a:fontRef idx="minor">
              <a:schemeClr val="tx1"/>
            </a:fontRef>
          </p:style>
        </p:cxnSp>
        <p:cxnSp>
          <p:nvCxnSpPr>
            <p:cNvPr id="31" name="Straight Arrow Connector 30">
              <a:extLst>
                <a:ext uri="{FF2B5EF4-FFF2-40B4-BE49-F238E27FC236}">
                  <a16:creationId xmlns:a16="http://schemas.microsoft.com/office/drawing/2014/main" id="{568F6C04-5B76-4F29-9A53-92554425E3AC}"/>
                </a:ext>
              </a:extLst>
            </p:cNvPr>
            <p:cNvCxnSpPr>
              <a:cxnSpLocks/>
              <a:stCxn id="15" idx="3"/>
              <a:endCxn id="19" idx="1"/>
            </p:cNvCxnSpPr>
            <p:nvPr/>
          </p:nvCxnSpPr>
          <p:spPr>
            <a:xfrm>
              <a:off x="8389706" y="1621585"/>
              <a:ext cx="941373" cy="0"/>
            </a:xfrm>
            <a:prstGeom prst="straightConnector1">
              <a:avLst/>
            </a:prstGeom>
            <a:ln w="12700">
              <a:tailEnd type="triangle"/>
            </a:ln>
          </p:spPr>
          <p:style>
            <a:lnRef idx="1">
              <a:schemeClr val="accent6"/>
            </a:lnRef>
            <a:fillRef idx="0">
              <a:schemeClr val="accent6"/>
            </a:fillRef>
            <a:effectRef idx="0">
              <a:schemeClr val="accent6"/>
            </a:effectRef>
            <a:fontRef idx="minor">
              <a:schemeClr val="tx1"/>
            </a:fontRef>
          </p:style>
        </p:cxnSp>
      </p:grpSp>
      <p:pic>
        <p:nvPicPr>
          <p:cNvPr id="38" name="Graphic 37" descr="Document outline">
            <a:extLst>
              <a:ext uri="{FF2B5EF4-FFF2-40B4-BE49-F238E27FC236}">
                <a16:creationId xmlns:a16="http://schemas.microsoft.com/office/drawing/2014/main" id="{F653C722-31DD-40E2-A8DD-BAC58FC3887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98493" y="3631406"/>
            <a:ext cx="914400" cy="914400"/>
          </a:xfrm>
          <a:prstGeom prst="rect">
            <a:avLst/>
          </a:prstGeom>
        </p:spPr>
      </p:pic>
      <p:sp>
        <p:nvSpPr>
          <p:cNvPr id="56" name="Arrow: Right 55">
            <a:extLst>
              <a:ext uri="{FF2B5EF4-FFF2-40B4-BE49-F238E27FC236}">
                <a16:creationId xmlns:a16="http://schemas.microsoft.com/office/drawing/2014/main" id="{C961F8C9-E66F-4127-AAD2-16C4A5CD21EA}"/>
              </a:ext>
            </a:extLst>
          </p:cNvPr>
          <p:cNvSpPr/>
          <p:nvPr/>
        </p:nvSpPr>
        <p:spPr>
          <a:xfrm>
            <a:off x="3387583" y="3727726"/>
            <a:ext cx="688368" cy="721760"/>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ZA"/>
          </a:p>
        </p:txBody>
      </p:sp>
      <p:sp>
        <p:nvSpPr>
          <p:cNvPr id="57" name="TextBox 56">
            <a:extLst>
              <a:ext uri="{FF2B5EF4-FFF2-40B4-BE49-F238E27FC236}">
                <a16:creationId xmlns:a16="http://schemas.microsoft.com/office/drawing/2014/main" id="{EB6645F6-55AC-41C2-8EEB-DA3D72084146}"/>
              </a:ext>
            </a:extLst>
          </p:cNvPr>
          <p:cNvSpPr txBox="1"/>
          <p:nvPr/>
        </p:nvSpPr>
        <p:spPr>
          <a:xfrm>
            <a:off x="4064570" y="4545060"/>
            <a:ext cx="1199366" cy="646331"/>
          </a:xfrm>
          <a:prstGeom prst="rect">
            <a:avLst/>
          </a:prstGeom>
          <a:noFill/>
        </p:spPr>
        <p:txBody>
          <a:bodyPr wrap="none" rtlCol="0">
            <a:spAutoFit/>
          </a:bodyPr>
          <a:lstStyle/>
          <a:p>
            <a:pPr algn="ctr"/>
            <a:r>
              <a:rPr lang="en-GB" dirty="0"/>
              <a:t>Typology</a:t>
            </a:r>
          </a:p>
          <a:p>
            <a:pPr algn="ctr"/>
            <a:r>
              <a:rPr lang="en-GB" dirty="0"/>
              <a:t>config</a:t>
            </a:r>
            <a:endParaRPr lang="en-ZA" dirty="0"/>
          </a:p>
        </p:txBody>
      </p:sp>
      <p:sp>
        <p:nvSpPr>
          <p:cNvPr id="58" name="Cylinder 57">
            <a:extLst>
              <a:ext uri="{FF2B5EF4-FFF2-40B4-BE49-F238E27FC236}">
                <a16:creationId xmlns:a16="http://schemas.microsoft.com/office/drawing/2014/main" id="{069F0306-9DAC-44FF-ABAB-57FDC536D335}"/>
              </a:ext>
            </a:extLst>
          </p:cNvPr>
          <p:cNvSpPr/>
          <p:nvPr/>
        </p:nvSpPr>
        <p:spPr>
          <a:xfrm>
            <a:off x="7103507" y="5859503"/>
            <a:ext cx="729466" cy="884619"/>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ZA"/>
          </a:p>
        </p:txBody>
      </p:sp>
      <p:pic>
        <p:nvPicPr>
          <p:cNvPr id="73" name="Graphic 72" descr="Open folder outline">
            <a:extLst>
              <a:ext uri="{FF2B5EF4-FFF2-40B4-BE49-F238E27FC236}">
                <a16:creationId xmlns:a16="http://schemas.microsoft.com/office/drawing/2014/main" id="{64BC7DAA-BC22-483C-B1C7-B2FC69C517B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11683" y="3631406"/>
            <a:ext cx="914400" cy="914400"/>
          </a:xfrm>
          <a:prstGeom prst="rect">
            <a:avLst/>
          </a:prstGeom>
        </p:spPr>
      </p:pic>
      <p:sp>
        <p:nvSpPr>
          <p:cNvPr id="74" name="TextBox 73">
            <a:extLst>
              <a:ext uri="{FF2B5EF4-FFF2-40B4-BE49-F238E27FC236}">
                <a16:creationId xmlns:a16="http://schemas.microsoft.com/office/drawing/2014/main" id="{3075B565-C4DC-4343-9DF3-642B15226724}"/>
              </a:ext>
            </a:extLst>
          </p:cNvPr>
          <p:cNvSpPr txBox="1"/>
          <p:nvPr/>
        </p:nvSpPr>
        <p:spPr>
          <a:xfrm>
            <a:off x="2299712" y="3996842"/>
            <a:ext cx="965329" cy="646331"/>
          </a:xfrm>
          <a:prstGeom prst="rect">
            <a:avLst/>
          </a:prstGeom>
          <a:noFill/>
        </p:spPr>
        <p:txBody>
          <a:bodyPr wrap="none" rtlCol="0">
            <a:spAutoFit/>
          </a:bodyPr>
          <a:lstStyle/>
          <a:p>
            <a:pPr algn="ctr"/>
            <a:r>
              <a:rPr lang="en-GB" dirty="0"/>
              <a:t>Rule</a:t>
            </a:r>
          </a:p>
          <a:p>
            <a:pPr algn="ctr"/>
            <a:r>
              <a:rPr lang="en-GB" dirty="0"/>
              <a:t>configs</a:t>
            </a:r>
            <a:endParaRPr lang="en-ZA" dirty="0"/>
          </a:p>
        </p:txBody>
      </p:sp>
      <p:pic>
        <p:nvPicPr>
          <p:cNvPr id="75" name="Graphic 74" descr="Document outline">
            <a:extLst>
              <a:ext uri="{FF2B5EF4-FFF2-40B4-BE49-F238E27FC236}">
                <a16:creationId xmlns:a16="http://schemas.microsoft.com/office/drawing/2014/main" id="{70B77805-C4D5-4DC1-AF8A-CFD056F8709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02479" y="3631406"/>
            <a:ext cx="914400" cy="914400"/>
          </a:xfrm>
          <a:prstGeom prst="rect">
            <a:avLst/>
          </a:prstGeom>
        </p:spPr>
      </p:pic>
      <p:sp>
        <p:nvSpPr>
          <p:cNvPr id="76" name="TextBox 75">
            <a:extLst>
              <a:ext uri="{FF2B5EF4-FFF2-40B4-BE49-F238E27FC236}">
                <a16:creationId xmlns:a16="http://schemas.microsoft.com/office/drawing/2014/main" id="{427268C5-C6E5-4930-9436-58C3195C7983}"/>
              </a:ext>
            </a:extLst>
          </p:cNvPr>
          <p:cNvSpPr txBox="1"/>
          <p:nvPr/>
        </p:nvSpPr>
        <p:spPr>
          <a:xfrm>
            <a:off x="6915845" y="4545060"/>
            <a:ext cx="1104790" cy="646331"/>
          </a:xfrm>
          <a:prstGeom prst="rect">
            <a:avLst/>
          </a:prstGeom>
          <a:noFill/>
        </p:spPr>
        <p:txBody>
          <a:bodyPr wrap="none" rtlCol="0">
            <a:spAutoFit/>
          </a:bodyPr>
          <a:lstStyle/>
          <a:p>
            <a:pPr algn="ctr"/>
            <a:r>
              <a:rPr lang="en-GB" dirty="0"/>
              <a:t>Network</a:t>
            </a:r>
          </a:p>
          <a:p>
            <a:pPr algn="ctr"/>
            <a:r>
              <a:rPr lang="en-GB" dirty="0"/>
              <a:t>map</a:t>
            </a:r>
            <a:endParaRPr lang="en-ZA" dirty="0"/>
          </a:p>
        </p:txBody>
      </p:sp>
      <p:sp>
        <p:nvSpPr>
          <p:cNvPr id="77" name="Arrow: Right 76">
            <a:extLst>
              <a:ext uri="{FF2B5EF4-FFF2-40B4-BE49-F238E27FC236}">
                <a16:creationId xmlns:a16="http://schemas.microsoft.com/office/drawing/2014/main" id="{7695909E-6091-46DD-AED5-152E1416D568}"/>
              </a:ext>
            </a:extLst>
          </p:cNvPr>
          <p:cNvSpPr/>
          <p:nvPr/>
        </p:nvSpPr>
        <p:spPr>
          <a:xfrm>
            <a:off x="5784601" y="3727726"/>
            <a:ext cx="688368" cy="721760"/>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ZA"/>
          </a:p>
        </p:txBody>
      </p:sp>
      <p:pic>
        <p:nvPicPr>
          <p:cNvPr id="78" name="Graphic 77" descr="Document outline">
            <a:extLst>
              <a:ext uri="{FF2B5EF4-FFF2-40B4-BE49-F238E27FC236}">
                <a16:creationId xmlns:a16="http://schemas.microsoft.com/office/drawing/2014/main" id="{3C62E9E9-554E-4205-B35E-A044CDB075A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761787" y="3252333"/>
            <a:ext cx="914400" cy="914400"/>
          </a:xfrm>
          <a:prstGeom prst="rect">
            <a:avLst/>
          </a:prstGeom>
        </p:spPr>
      </p:pic>
      <p:sp>
        <p:nvSpPr>
          <p:cNvPr id="79" name="TextBox 78">
            <a:extLst>
              <a:ext uri="{FF2B5EF4-FFF2-40B4-BE49-F238E27FC236}">
                <a16:creationId xmlns:a16="http://schemas.microsoft.com/office/drawing/2014/main" id="{22AFDCF2-8B33-4BD7-9570-CF58299C587A}"/>
              </a:ext>
            </a:extLst>
          </p:cNvPr>
          <p:cNvSpPr txBox="1"/>
          <p:nvPr/>
        </p:nvSpPr>
        <p:spPr>
          <a:xfrm>
            <a:off x="10627864" y="4165987"/>
            <a:ext cx="1199366" cy="646331"/>
          </a:xfrm>
          <a:prstGeom prst="rect">
            <a:avLst/>
          </a:prstGeom>
          <a:noFill/>
        </p:spPr>
        <p:txBody>
          <a:bodyPr wrap="none" rtlCol="0">
            <a:spAutoFit/>
          </a:bodyPr>
          <a:lstStyle/>
          <a:p>
            <a:pPr algn="ctr"/>
            <a:r>
              <a:rPr lang="en-GB" dirty="0"/>
              <a:t>Typology</a:t>
            </a:r>
          </a:p>
          <a:p>
            <a:pPr algn="ctr"/>
            <a:r>
              <a:rPr lang="en-GB" dirty="0"/>
              <a:t>config</a:t>
            </a:r>
            <a:endParaRPr lang="en-ZA" dirty="0"/>
          </a:p>
        </p:txBody>
      </p:sp>
      <p:pic>
        <p:nvPicPr>
          <p:cNvPr id="80" name="Graphic 79" descr="Open folder outline">
            <a:extLst>
              <a:ext uri="{FF2B5EF4-FFF2-40B4-BE49-F238E27FC236}">
                <a16:creationId xmlns:a16="http://schemas.microsoft.com/office/drawing/2014/main" id="{08016ADC-586F-48B1-B596-288458CED11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566852" y="2795133"/>
            <a:ext cx="914400" cy="914400"/>
          </a:xfrm>
          <a:prstGeom prst="rect">
            <a:avLst/>
          </a:prstGeom>
        </p:spPr>
      </p:pic>
      <p:sp>
        <p:nvSpPr>
          <p:cNvPr id="81" name="TextBox 80">
            <a:extLst>
              <a:ext uri="{FF2B5EF4-FFF2-40B4-BE49-F238E27FC236}">
                <a16:creationId xmlns:a16="http://schemas.microsoft.com/office/drawing/2014/main" id="{3D154B7C-1C07-4E7A-B62A-5AA60E3B28E2}"/>
              </a:ext>
            </a:extLst>
          </p:cNvPr>
          <p:cNvSpPr txBox="1"/>
          <p:nvPr/>
        </p:nvSpPr>
        <p:spPr>
          <a:xfrm>
            <a:off x="9554881" y="3160569"/>
            <a:ext cx="965329" cy="646331"/>
          </a:xfrm>
          <a:prstGeom prst="rect">
            <a:avLst/>
          </a:prstGeom>
          <a:noFill/>
        </p:spPr>
        <p:txBody>
          <a:bodyPr wrap="none" rtlCol="0">
            <a:spAutoFit/>
          </a:bodyPr>
          <a:lstStyle/>
          <a:p>
            <a:pPr algn="ctr"/>
            <a:r>
              <a:rPr lang="en-GB" dirty="0"/>
              <a:t>Rule</a:t>
            </a:r>
          </a:p>
          <a:p>
            <a:pPr algn="ctr"/>
            <a:r>
              <a:rPr lang="en-GB" dirty="0"/>
              <a:t>configs</a:t>
            </a:r>
            <a:endParaRPr lang="en-ZA" dirty="0"/>
          </a:p>
        </p:txBody>
      </p:sp>
      <p:pic>
        <p:nvPicPr>
          <p:cNvPr id="82" name="Graphic 81" descr="Document outline">
            <a:extLst>
              <a:ext uri="{FF2B5EF4-FFF2-40B4-BE49-F238E27FC236}">
                <a16:creationId xmlns:a16="http://schemas.microsoft.com/office/drawing/2014/main" id="{A8460DF7-EA89-4BAE-AC86-487C99B8F71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68877" y="3990709"/>
            <a:ext cx="914400" cy="914400"/>
          </a:xfrm>
          <a:prstGeom prst="rect">
            <a:avLst/>
          </a:prstGeom>
        </p:spPr>
      </p:pic>
      <p:sp>
        <p:nvSpPr>
          <p:cNvPr id="83" name="TextBox 82">
            <a:extLst>
              <a:ext uri="{FF2B5EF4-FFF2-40B4-BE49-F238E27FC236}">
                <a16:creationId xmlns:a16="http://schemas.microsoft.com/office/drawing/2014/main" id="{32D8C822-D8D0-49BD-811F-CE7E06D9790B}"/>
              </a:ext>
            </a:extLst>
          </p:cNvPr>
          <p:cNvSpPr txBox="1"/>
          <p:nvPr/>
        </p:nvSpPr>
        <p:spPr>
          <a:xfrm>
            <a:off x="9482243" y="4904363"/>
            <a:ext cx="1104790" cy="646331"/>
          </a:xfrm>
          <a:prstGeom prst="rect">
            <a:avLst/>
          </a:prstGeom>
          <a:noFill/>
        </p:spPr>
        <p:txBody>
          <a:bodyPr wrap="none" rtlCol="0">
            <a:spAutoFit/>
          </a:bodyPr>
          <a:lstStyle/>
          <a:p>
            <a:pPr algn="ctr"/>
            <a:r>
              <a:rPr lang="en-GB" dirty="0"/>
              <a:t>Network</a:t>
            </a:r>
          </a:p>
          <a:p>
            <a:pPr algn="ctr"/>
            <a:r>
              <a:rPr lang="en-GB" dirty="0"/>
              <a:t>map</a:t>
            </a:r>
            <a:endParaRPr lang="en-ZA" dirty="0"/>
          </a:p>
        </p:txBody>
      </p:sp>
      <p:sp>
        <p:nvSpPr>
          <p:cNvPr id="88" name="Arrow: Right 87">
            <a:extLst>
              <a:ext uri="{FF2B5EF4-FFF2-40B4-BE49-F238E27FC236}">
                <a16:creationId xmlns:a16="http://schemas.microsoft.com/office/drawing/2014/main" id="{287EA16D-3ABE-4B0C-B0CD-30E6AF9F2564}"/>
              </a:ext>
            </a:extLst>
          </p:cNvPr>
          <p:cNvSpPr/>
          <p:nvPr/>
        </p:nvSpPr>
        <p:spPr>
          <a:xfrm>
            <a:off x="8278610" y="3727726"/>
            <a:ext cx="688368" cy="721760"/>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ZA"/>
          </a:p>
        </p:txBody>
      </p:sp>
      <p:cxnSp>
        <p:nvCxnSpPr>
          <p:cNvPr id="90" name="Straight Arrow Connector 89">
            <a:extLst>
              <a:ext uri="{FF2B5EF4-FFF2-40B4-BE49-F238E27FC236}">
                <a16:creationId xmlns:a16="http://schemas.microsoft.com/office/drawing/2014/main" id="{A026C4C2-53E8-4057-ABA4-7FC8E39AFD92}"/>
              </a:ext>
            </a:extLst>
          </p:cNvPr>
          <p:cNvCxnSpPr>
            <a:cxnSpLocks/>
            <a:stCxn id="74" idx="2"/>
            <a:endCxn id="58" idx="2"/>
          </p:cNvCxnSpPr>
          <p:nvPr/>
        </p:nvCxnSpPr>
        <p:spPr>
          <a:xfrm rot="16200000" flipH="1">
            <a:off x="4113622" y="3311928"/>
            <a:ext cx="1658640" cy="4321130"/>
          </a:xfrm>
          <a:prstGeom prst="curvedConnector2">
            <a:avLst/>
          </a:prstGeom>
          <a:ln w="25400">
            <a:tailEnd type="triangle"/>
          </a:ln>
        </p:spPr>
        <p:style>
          <a:lnRef idx="1">
            <a:schemeClr val="accent6"/>
          </a:lnRef>
          <a:fillRef idx="0">
            <a:schemeClr val="accent6"/>
          </a:fillRef>
          <a:effectRef idx="0">
            <a:schemeClr val="accent6"/>
          </a:effectRef>
          <a:fontRef idx="minor">
            <a:schemeClr val="tx1"/>
          </a:fontRef>
        </p:style>
      </p:cxnSp>
      <p:cxnSp>
        <p:nvCxnSpPr>
          <p:cNvPr id="94" name="Straight Arrow Connector 89">
            <a:extLst>
              <a:ext uri="{FF2B5EF4-FFF2-40B4-BE49-F238E27FC236}">
                <a16:creationId xmlns:a16="http://schemas.microsoft.com/office/drawing/2014/main" id="{EC51041A-8E2E-46F3-B268-FFA2CA913EE9}"/>
              </a:ext>
            </a:extLst>
          </p:cNvPr>
          <p:cNvCxnSpPr>
            <a:cxnSpLocks/>
            <a:stCxn id="57" idx="2"/>
            <a:endCxn id="58" idx="2"/>
          </p:cNvCxnSpPr>
          <p:nvPr/>
        </p:nvCxnSpPr>
        <p:spPr>
          <a:xfrm rot="16200000" flipH="1">
            <a:off x="5328669" y="4526975"/>
            <a:ext cx="1110422" cy="2439254"/>
          </a:xfrm>
          <a:prstGeom prst="curvedConnector2">
            <a:avLst/>
          </a:prstGeom>
          <a:ln w="25400">
            <a:tailEnd type="triangle"/>
          </a:ln>
        </p:spPr>
        <p:style>
          <a:lnRef idx="1">
            <a:schemeClr val="accent6"/>
          </a:lnRef>
          <a:fillRef idx="0">
            <a:schemeClr val="accent6"/>
          </a:fillRef>
          <a:effectRef idx="0">
            <a:schemeClr val="accent6"/>
          </a:effectRef>
          <a:fontRef idx="minor">
            <a:schemeClr val="tx1"/>
          </a:fontRef>
        </p:style>
      </p:cxnSp>
      <p:cxnSp>
        <p:nvCxnSpPr>
          <p:cNvPr id="98" name="Straight Arrow Connector 89">
            <a:extLst>
              <a:ext uri="{FF2B5EF4-FFF2-40B4-BE49-F238E27FC236}">
                <a16:creationId xmlns:a16="http://schemas.microsoft.com/office/drawing/2014/main" id="{5F9D53DC-CF8C-416F-81BA-CD3F4E26FE7E}"/>
              </a:ext>
            </a:extLst>
          </p:cNvPr>
          <p:cNvCxnSpPr>
            <a:cxnSpLocks/>
            <a:stCxn id="76" idx="2"/>
            <a:endCxn id="58" idx="1"/>
          </p:cNvCxnSpPr>
          <p:nvPr/>
        </p:nvCxnSpPr>
        <p:spPr>
          <a:xfrm>
            <a:off x="7468240" y="5191391"/>
            <a:ext cx="0" cy="668112"/>
          </a:xfrm>
          <a:prstGeom prst="straightConnector1">
            <a:avLst/>
          </a:prstGeom>
          <a:ln w="25400">
            <a:tailEnd type="triangle"/>
          </a:ln>
        </p:spPr>
        <p:style>
          <a:lnRef idx="1">
            <a:schemeClr val="accent6"/>
          </a:lnRef>
          <a:fillRef idx="0">
            <a:schemeClr val="accent6"/>
          </a:fillRef>
          <a:effectRef idx="0">
            <a:schemeClr val="accent6"/>
          </a:effectRef>
          <a:fontRef idx="minor">
            <a:schemeClr val="tx1"/>
          </a:fontRef>
        </p:style>
      </p:cxnSp>
      <p:sp>
        <p:nvSpPr>
          <p:cNvPr id="101" name="TextBox 100">
            <a:extLst>
              <a:ext uri="{FF2B5EF4-FFF2-40B4-BE49-F238E27FC236}">
                <a16:creationId xmlns:a16="http://schemas.microsoft.com/office/drawing/2014/main" id="{C910522D-BCE6-41A5-926D-7EA72B60839D}"/>
              </a:ext>
            </a:extLst>
          </p:cNvPr>
          <p:cNvSpPr txBox="1"/>
          <p:nvPr/>
        </p:nvSpPr>
        <p:spPr>
          <a:xfrm>
            <a:off x="7015783" y="6056584"/>
            <a:ext cx="885179" cy="646331"/>
          </a:xfrm>
          <a:prstGeom prst="rect">
            <a:avLst/>
          </a:prstGeom>
          <a:noFill/>
        </p:spPr>
        <p:txBody>
          <a:bodyPr wrap="none" rtlCol="0">
            <a:spAutoFit/>
          </a:bodyPr>
          <a:lstStyle/>
          <a:p>
            <a:pPr algn="ctr"/>
            <a:r>
              <a:rPr lang="en-GB" dirty="0"/>
              <a:t>Config</a:t>
            </a:r>
          </a:p>
          <a:p>
            <a:pPr algn="ctr"/>
            <a:r>
              <a:rPr lang="en-GB" dirty="0"/>
              <a:t>Store</a:t>
            </a:r>
            <a:endParaRPr lang="en-ZA" dirty="0"/>
          </a:p>
        </p:txBody>
      </p:sp>
      <p:cxnSp>
        <p:nvCxnSpPr>
          <p:cNvPr id="105" name="Straight Arrow Connector 89">
            <a:extLst>
              <a:ext uri="{FF2B5EF4-FFF2-40B4-BE49-F238E27FC236}">
                <a16:creationId xmlns:a16="http://schemas.microsoft.com/office/drawing/2014/main" id="{3F8CDCB2-1807-43A1-993D-1A08054834B0}"/>
              </a:ext>
            </a:extLst>
          </p:cNvPr>
          <p:cNvCxnSpPr>
            <a:cxnSpLocks/>
            <a:stCxn id="114" idx="3"/>
            <a:endCxn id="58" idx="4"/>
          </p:cNvCxnSpPr>
          <p:nvPr/>
        </p:nvCxnSpPr>
        <p:spPr>
          <a:xfrm rot="5400000">
            <a:off x="8198804" y="4979351"/>
            <a:ext cx="956632" cy="1688293"/>
          </a:xfrm>
          <a:prstGeom prst="curvedConnector2">
            <a:avLst/>
          </a:prstGeom>
          <a:ln w="25400">
            <a:tailEnd type="triangle"/>
          </a:ln>
        </p:spPr>
        <p:style>
          <a:lnRef idx="1">
            <a:schemeClr val="accent6"/>
          </a:lnRef>
          <a:fillRef idx="0">
            <a:schemeClr val="accent6"/>
          </a:fillRef>
          <a:effectRef idx="0">
            <a:schemeClr val="accent6"/>
          </a:effectRef>
          <a:fontRef idx="minor">
            <a:schemeClr val="tx1"/>
          </a:fontRef>
        </p:style>
      </p:cxnSp>
      <p:sp>
        <p:nvSpPr>
          <p:cNvPr id="114" name="Oval 113">
            <a:extLst>
              <a:ext uri="{FF2B5EF4-FFF2-40B4-BE49-F238E27FC236}">
                <a16:creationId xmlns:a16="http://schemas.microsoft.com/office/drawing/2014/main" id="{70A55659-A415-4CB5-BAE2-631062C87833}"/>
              </a:ext>
            </a:extLst>
          </p:cNvPr>
          <p:cNvSpPr/>
          <p:nvPr/>
        </p:nvSpPr>
        <p:spPr>
          <a:xfrm>
            <a:off x="9116818" y="2347491"/>
            <a:ext cx="2761746" cy="3512012"/>
          </a:xfrm>
          <a:prstGeom prst="ellipse">
            <a:avLst/>
          </a:prstGeom>
          <a:noFill/>
          <a:ln w="25400"/>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36327048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29232A-04B2-43A9-856C-32001C4B45FC}"/>
              </a:ext>
            </a:extLst>
          </p:cNvPr>
          <p:cNvSpPr>
            <a:spLocks noGrp="1"/>
          </p:cNvSpPr>
          <p:nvPr>
            <p:ph type="title"/>
          </p:nvPr>
        </p:nvSpPr>
        <p:spPr>
          <a:xfrm>
            <a:off x="838200" y="2205059"/>
            <a:ext cx="10515600" cy="1008000"/>
          </a:xfrm>
          <a:solidFill>
            <a:schemeClr val="bg1"/>
          </a:solidFill>
        </p:spPr>
        <p:txBody>
          <a:bodyPr vert="horz" lIns="91440" tIns="45720" rIns="91440" bIns="45720" rtlCol="0" anchor="b">
            <a:normAutofit/>
          </a:bodyPr>
          <a:lstStyle/>
          <a:p>
            <a:pPr algn="ctr"/>
            <a:r>
              <a:rPr lang="en-ZA" sz="6000" b="1" dirty="0">
                <a:solidFill>
                  <a:srgbClr val="278235"/>
                </a:solidFill>
                <a:latin typeface="Century Gothic" panose="020B0502020202020204" pitchFamily="34" charset="0"/>
              </a:rPr>
              <a:t>DevOps</a:t>
            </a:r>
          </a:p>
        </p:txBody>
      </p:sp>
    </p:spTree>
    <p:extLst>
      <p:ext uri="{BB962C8B-B14F-4D97-AF65-F5344CB8AC3E}">
        <p14:creationId xmlns:p14="http://schemas.microsoft.com/office/powerpoint/2010/main" val="28462349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Xjm35S6Aqaa3t_RgtRGVQ"/>
</p:tagLst>
</file>

<file path=ppt/theme/theme1.xml><?xml version="1.0" encoding="utf-8"?>
<a:theme xmlns:a="http://schemas.openxmlformats.org/drawingml/2006/main" name="Office Theme">
  <a:themeElements>
    <a:clrScheme name="LexTego Green">
      <a:dk1>
        <a:sysClr val="windowText" lastClr="000000"/>
      </a:dk1>
      <a:lt1>
        <a:sysClr val="window" lastClr="FFFFFF"/>
      </a:lt1>
      <a:dk2>
        <a:srgbClr val="538135"/>
      </a:dk2>
      <a:lt2>
        <a:srgbClr val="E7E6E6"/>
      </a:lt2>
      <a:accent1>
        <a:srgbClr val="3FAB3C"/>
      </a:accent1>
      <a:accent2>
        <a:srgbClr val="ED7D31"/>
      </a:accent2>
      <a:accent3>
        <a:srgbClr val="A5A5A5"/>
      </a:accent3>
      <a:accent4>
        <a:srgbClr val="FFC000"/>
      </a:accent4>
      <a:accent5>
        <a:srgbClr val="5B9BD5"/>
      </a:accent5>
      <a:accent6>
        <a:srgbClr val="70AD47"/>
      </a:accent6>
      <a:hlink>
        <a:srgbClr val="538135"/>
      </a:hlink>
      <a:folHlink>
        <a:srgbClr val="538135"/>
      </a:folHlink>
    </a:clrScheme>
    <a:fontScheme name="Raleway">
      <a:majorFont>
        <a:latin typeface="Raleway"/>
        <a:ea typeface=""/>
        <a:cs typeface=""/>
      </a:majorFont>
      <a:minorFont>
        <a:latin typeface="Ralew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898D02AAF58274886DA34FAFAA814D6" ma:contentTypeVersion="10" ma:contentTypeDescription="Create a new document." ma:contentTypeScope="" ma:versionID="d9e2c5fda3d013f2b82b15955f8cdf52">
  <xsd:schema xmlns:xsd="http://www.w3.org/2001/XMLSchema" xmlns:xs="http://www.w3.org/2001/XMLSchema" xmlns:p="http://schemas.microsoft.com/office/2006/metadata/properties" xmlns:ns2="07495de5-0491-417c-aaf6-ff664a4e738c" xmlns:ns3="783b0542-9666-4046-a3cf-2edb5caf5721" targetNamespace="http://schemas.microsoft.com/office/2006/metadata/properties" ma:root="true" ma:fieldsID="2e6b904f17b23ad387183710c8acda85" ns2:_="" ns3:_="">
    <xsd:import namespace="07495de5-0491-417c-aaf6-ff664a4e738c"/>
    <xsd:import namespace="783b0542-9666-4046-a3cf-2edb5caf572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495de5-0491-417c-aaf6-ff664a4e73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83b0542-9666-4046-a3cf-2edb5caf5721"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783b0542-9666-4046-a3cf-2edb5caf5721">
      <UserInfo>
        <DisplayName>Maarten Kuulkers</DisplayName>
        <AccountId>37</AccountId>
        <AccountType/>
      </UserInfo>
      <UserInfo>
        <DisplayName>Rob Reeve</DisplayName>
        <AccountId>9</AccountId>
        <AccountType/>
      </UserInfo>
    </SharedWithUsers>
  </documentManagement>
</p:properties>
</file>

<file path=customXml/itemProps1.xml><?xml version="1.0" encoding="utf-8"?>
<ds:datastoreItem xmlns:ds="http://schemas.openxmlformats.org/officeDocument/2006/customXml" ds:itemID="{DC6F8319-5A11-4F04-BFD9-0D3AA1B5A410}">
  <ds:schemaRefs>
    <ds:schemaRef ds:uri="07495de5-0491-417c-aaf6-ff664a4e738c"/>
    <ds:schemaRef ds:uri="783b0542-9666-4046-a3cf-2edb5caf572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F44B601-4538-40E4-815E-A0933F2DCC99}">
  <ds:schemaRefs>
    <ds:schemaRef ds:uri="http://schemas.microsoft.com/sharepoint/v3/contenttype/forms"/>
  </ds:schemaRefs>
</ds:datastoreItem>
</file>

<file path=customXml/itemProps3.xml><?xml version="1.0" encoding="utf-8"?>
<ds:datastoreItem xmlns:ds="http://schemas.openxmlformats.org/officeDocument/2006/customXml" ds:itemID="{39417FBE-6BDC-471E-AA07-2B521B16288D}">
  <ds:schemaRefs>
    <ds:schemaRef ds:uri="07495de5-0491-417c-aaf6-ff664a4e738c"/>
    <ds:schemaRef ds:uri="783b0542-9666-4046-a3cf-2edb5caf572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4021</TotalTime>
  <Words>1203</Words>
  <Application>Microsoft Office PowerPoint</Application>
  <PresentationFormat>Widescreen</PresentationFormat>
  <Paragraphs>272</Paragraphs>
  <Slides>15</Slides>
  <Notes>1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4" baseType="lpstr">
      <vt:lpstr>-apple-system</vt:lpstr>
      <vt:lpstr>Arial</vt:lpstr>
      <vt:lpstr>Calibri</vt:lpstr>
      <vt:lpstr>Calibri Light</vt:lpstr>
      <vt:lpstr>Century Gothic</vt:lpstr>
      <vt:lpstr>Consolas</vt:lpstr>
      <vt:lpstr>Raleway</vt:lpstr>
      <vt:lpstr>Office Theme</vt:lpstr>
      <vt:lpstr>think-cell Slide</vt:lpstr>
      <vt:lpstr>Actio: An OSS Anti-Financial Crime and Risk Management Solution</vt:lpstr>
      <vt:lpstr>Actio FCRMS - MVP Journey</vt:lpstr>
      <vt:lpstr>Actio</vt:lpstr>
      <vt:lpstr>Actio context</vt:lpstr>
      <vt:lpstr>Actio Process Flow</vt:lpstr>
      <vt:lpstr>PI 6 Delivery</vt:lpstr>
      <vt:lpstr>ACTIO data model</vt:lpstr>
      <vt:lpstr>The typology life-cycle</vt:lpstr>
      <vt:lpstr>DevOps</vt:lpstr>
      <vt:lpstr>PowerPoint Presentation</vt:lpstr>
      <vt:lpstr>PowerPoint Presentation</vt:lpstr>
      <vt:lpstr>Actio Demo</vt:lpstr>
      <vt:lpstr>Actio Performance Demo</vt:lpstr>
      <vt:lpstr>Project round-up</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stus Ortlepp</dc:creator>
  <cp:lastModifiedBy>Justus Ortlepp</cp:lastModifiedBy>
  <cp:revision>27</cp:revision>
  <dcterms:created xsi:type="dcterms:W3CDTF">2021-02-03T06:08:41Z</dcterms:created>
  <dcterms:modified xsi:type="dcterms:W3CDTF">2022-04-26T16:4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98D02AAF58274886DA34FAFAA814D6</vt:lpwstr>
  </property>
</Properties>
</file>